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</p:sldMasterIdLst>
  <p:sldIdLst>
    <p:sldId id="256" r:id="rId2"/>
    <p:sldId id="257" r:id="rId3"/>
    <p:sldId id="258" r:id="rId4"/>
    <p:sldId id="259" r:id="rId5"/>
    <p:sldId id="281" r:id="rId6"/>
    <p:sldId id="272" r:id="rId7"/>
    <p:sldId id="273" r:id="rId8"/>
    <p:sldId id="274" r:id="rId9"/>
    <p:sldId id="275" r:id="rId10"/>
    <p:sldId id="276" r:id="rId11"/>
    <p:sldId id="277" r:id="rId12"/>
    <p:sldId id="278" r:id="rId13"/>
    <p:sldId id="279" r:id="rId14"/>
    <p:sldId id="262" r:id="rId15"/>
    <p:sldId id="280" r:id="rId16"/>
    <p:sldId id="263" r:id="rId17"/>
    <p:sldId id="271" r:id="rId18"/>
    <p:sldId id="270" r:id="rId19"/>
    <p:sldId id="268" r:id="rId20"/>
    <p:sldId id="264" r:id="rId21"/>
    <p:sldId id="265" r:id="rId22"/>
    <p:sldId id="266" r:id="rId23"/>
    <p:sldId id="267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B22B"/>
    <a:srgbClr val="840D35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4660"/>
  </p:normalViewPr>
  <p:slideViewPr>
    <p:cSldViewPr snapToGrid="0">
      <p:cViewPr varScale="1">
        <p:scale>
          <a:sx n="62" d="100"/>
          <a:sy n="62" d="100"/>
        </p:scale>
        <p:origin x="7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956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188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5998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0695271-F570-409F-857A-DDA155205D71}"/>
              </a:ext>
            </a:extLst>
          </p:cNvPr>
          <p:cNvSpPr/>
          <p:nvPr userDrawn="1"/>
        </p:nvSpPr>
        <p:spPr>
          <a:xfrm>
            <a:off x="-9528" y="771412"/>
            <a:ext cx="12184856" cy="6095998"/>
          </a:xfrm>
          <a:custGeom>
            <a:avLst/>
            <a:gdLst>
              <a:gd name="connsiteX0" fmla="*/ 0 w 12211050"/>
              <a:gd name="connsiteY0" fmla="*/ 0 h 5286375"/>
              <a:gd name="connsiteX1" fmla="*/ 12211050 w 12211050"/>
              <a:gd name="connsiteY1" fmla="*/ 5286375 h 5286375"/>
              <a:gd name="connsiteX2" fmla="*/ 0 w 12211050"/>
              <a:gd name="connsiteY2" fmla="*/ 5286375 h 5286375"/>
              <a:gd name="connsiteX3" fmla="*/ 0 w 12211050"/>
              <a:gd name="connsiteY3" fmla="*/ 0 h 5286375"/>
              <a:gd name="connsiteX0" fmla="*/ 0 w 12203906"/>
              <a:gd name="connsiteY0" fmla="*/ 0 h 5286375"/>
              <a:gd name="connsiteX1" fmla="*/ 12203906 w 12203906"/>
              <a:gd name="connsiteY1" fmla="*/ 5275227 h 5286375"/>
              <a:gd name="connsiteX2" fmla="*/ 0 w 12203906"/>
              <a:gd name="connsiteY2" fmla="*/ 5286375 h 5286375"/>
              <a:gd name="connsiteX3" fmla="*/ 0 w 12203906"/>
              <a:gd name="connsiteY3" fmla="*/ 0 h 5286375"/>
              <a:gd name="connsiteX0" fmla="*/ 0 w 12203906"/>
              <a:gd name="connsiteY0" fmla="*/ 0 h 5286375"/>
              <a:gd name="connsiteX1" fmla="*/ 12203906 w 12203906"/>
              <a:gd name="connsiteY1" fmla="*/ 5270768 h 5286375"/>
              <a:gd name="connsiteX2" fmla="*/ 0 w 12203906"/>
              <a:gd name="connsiteY2" fmla="*/ 5286375 h 5286375"/>
              <a:gd name="connsiteX3" fmla="*/ 0 w 12203906"/>
              <a:gd name="connsiteY3" fmla="*/ 0 h 5286375"/>
              <a:gd name="connsiteX0" fmla="*/ 0 w 12201525"/>
              <a:gd name="connsiteY0" fmla="*/ 0 h 5286375"/>
              <a:gd name="connsiteX1" fmla="*/ 12201525 w 12201525"/>
              <a:gd name="connsiteY1" fmla="*/ 5277457 h 5286375"/>
              <a:gd name="connsiteX2" fmla="*/ 0 w 12201525"/>
              <a:gd name="connsiteY2" fmla="*/ 5286375 h 5286375"/>
              <a:gd name="connsiteX3" fmla="*/ 0 w 12201525"/>
              <a:gd name="connsiteY3" fmla="*/ 0 h 5286375"/>
              <a:gd name="connsiteX0" fmla="*/ 0 w 12201525"/>
              <a:gd name="connsiteY0" fmla="*/ 0 h 5381237"/>
              <a:gd name="connsiteX1" fmla="*/ 12201525 w 12201525"/>
              <a:gd name="connsiteY1" fmla="*/ 5372319 h 5381237"/>
              <a:gd name="connsiteX2" fmla="*/ 0 w 12201525"/>
              <a:gd name="connsiteY2" fmla="*/ 5381237 h 5381237"/>
              <a:gd name="connsiteX3" fmla="*/ 0 w 12201525"/>
              <a:gd name="connsiteY3" fmla="*/ 0 h 5381237"/>
              <a:gd name="connsiteX0" fmla="*/ 0 w 12201525"/>
              <a:gd name="connsiteY0" fmla="*/ 0 h 5381237"/>
              <a:gd name="connsiteX1" fmla="*/ 11393177 w 12201525"/>
              <a:gd name="connsiteY1" fmla="*/ 5019039 h 5381237"/>
              <a:gd name="connsiteX2" fmla="*/ 12201525 w 12201525"/>
              <a:gd name="connsiteY2" fmla="*/ 5372319 h 5381237"/>
              <a:gd name="connsiteX3" fmla="*/ 0 w 12201525"/>
              <a:gd name="connsiteY3" fmla="*/ 5381237 h 5381237"/>
              <a:gd name="connsiteX4" fmla="*/ 0 w 12201525"/>
              <a:gd name="connsiteY4" fmla="*/ 0 h 5381237"/>
              <a:gd name="connsiteX0" fmla="*/ 0 w 12201525"/>
              <a:gd name="connsiteY0" fmla="*/ 0 h 5381237"/>
              <a:gd name="connsiteX1" fmla="*/ 11378870 w 12201525"/>
              <a:gd name="connsiteY1" fmla="*/ 5036287 h 5381237"/>
              <a:gd name="connsiteX2" fmla="*/ 12201525 w 12201525"/>
              <a:gd name="connsiteY2" fmla="*/ 5372319 h 5381237"/>
              <a:gd name="connsiteX3" fmla="*/ 0 w 12201525"/>
              <a:gd name="connsiteY3" fmla="*/ 5381237 h 5381237"/>
              <a:gd name="connsiteX4" fmla="*/ 0 w 12201525"/>
              <a:gd name="connsiteY4" fmla="*/ 0 h 5381237"/>
              <a:gd name="connsiteX0" fmla="*/ 0 w 12201525"/>
              <a:gd name="connsiteY0" fmla="*/ 0 h 5519217"/>
              <a:gd name="connsiteX1" fmla="*/ 11378870 w 12201525"/>
              <a:gd name="connsiteY1" fmla="*/ 5174267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407484 w 12201525"/>
              <a:gd name="connsiteY1" fmla="*/ 5174268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378870 w 12201525"/>
              <a:gd name="connsiteY1" fmla="*/ 5208764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483788 w 12201525"/>
              <a:gd name="connsiteY1" fmla="*/ 5200141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525" h="5519217">
                <a:moveTo>
                  <a:pt x="0" y="0"/>
                </a:moveTo>
                <a:lnTo>
                  <a:pt x="11483788" y="5200141"/>
                </a:lnTo>
                <a:lnTo>
                  <a:pt x="12201525" y="5510299"/>
                </a:lnTo>
                <a:lnTo>
                  <a:pt x="0" y="551921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A5197B9-3FB1-4F6F-9744-9B1F026A1E68}"/>
              </a:ext>
            </a:extLst>
          </p:cNvPr>
          <p:cNvSpPr/>
          <p:nvPr userDrawn="1"/>
        </p:nvSpPr>
        <p:spPr>
          <a:xfrm>
            <a:off x="933452" y="-9525"/>
            <a:ext cx="11249025" cy="6874782"/>
          </a:xfrm>
          <a:custGeom>
            <a:avLst/>
            <a:gdLst>
              <a:gd name="connsiteX0" fmla="*/ 0 w 11249025"/>
              <a:gd name="connsiteY0" fmla="*/ 0 h 6867525"/>
              <a:gd name="connsiteX1" fmla="*/ 3971925 w 11249025"/>
              <a:gd name="connsiteY1" fmla="*/ 6867525 h 6867525"/>
              <a:gd name="connsiteX2" fmla="*/ 6743700 w 11249025"/>
              <a:gd name="connsiteY2" fmla="*/ 6867525 h 6867525"/>
              <a:gd name="connsiteX3" fmla="*/ 11249025 w 11249025"/>
              <a:gd name="connsiteY3" fmla="*/ 3143250 h 6867525"/>
              <a:gd name="connsiteX4" fmla="*/ 11249025 w 11249025"/>
              <a:gd name="connsiteY4" fmla="*/ 9525 h 6867525"/>
              <a:gd name="connsiteX5" fmla="*/ 0 w 11249025"/>
              <a:gd name="connsiteY5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9025" h="6867525">
                <a:moveTo>
                  <a:pt x="0" y="0"/>
                </a:moveTo>
                <a:lnTo>
                  <a:pt x="3971925" y="6867525"/>
                </a:lnTo>
                <a:lnTo>
                  <a:pt x="6743700" y="6867525"/>
                </a:lnTo>
                <a:lnTo>
                  <a:pt x="11249025" y="3143250"/>
                </a:lnTo>
                <a:lnTo>
                  <a:pt x="1124902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BEBECF9-53D6-4F15-B120-0BFBAE7FB9AC}"/>
              </a:ext>
            </a:extLst>
          </p:cNvPr>
          <p:cNvSpPr/>
          <p:nvPr userDrawn="1"/>
        </p:nvSpPr>
        <p:spPr>
          <a:xfrm>
            <a:off x="1" y="-9525"/>
            <a:ext cx="12201526" cy="6862763"/>
          </a:xfrm>
          <a:custGeom>
            <a:avLst/>
            <a:gdLst>
              <a:gd name="connsiteX0" fmla="*/ 0 w 12211050"/>
              <a:gd name="connsiteY0" fmla="*/ 1552575 h 6848475"/>
              <a:gd name="connsiteX1" fmla="*/ 12211050 w 12211050"/>
              <a:gd name="connsiteY1" fmla="*/ 6848475 h 6848475"/>
              <a:gd name="connsiteX2" fmla="*/ 12211050 w 12211050"/>
              <a:gd name="connsiteY2" fmla="*/ 0 h 6848475"/>
              <a:gd name="connsiteX3" fmla="*/ 9525 w 12211050"/>
              <a:gd name="connsiteY3" fmla="*/ 0 h 6848475"/>
              <a:gd name="connsiteX4" fmla="*/ 0 w 12211050"/>
              <a:gd name="connsiteY4" fmla="*/ 1552575 h 6848475"/>
              <a:gd name="connsiteX0" fmla="*/ 0 w 12211050"/>
              <a:gd name="connsiteY0" fmla="*/ 1552575 h 6862763"/>
              <a:gd name="connsiteX1" fmla="*/ 12206287 w 12211050"/>
              <a:gd name="connsiteY1" fmla="*/ 6862763 h 6862763"/>
              <a:gd name="connsiteX2" fmla="*/ 12211050 w 12211050"/>
              <a:gd name="connsiteY2" fmla="*/ 0 h 6862763"/>
              <a:gd name="connsiteX3" fmla="*/ 9525 w 12211050"/>
              <a:gd name="connsiteY3" fmla="*/ 0 h 6862763"/>
              <a:gd name="connsiteX4" fmla="*/ 0 w 12211050"/>
              <a:gd name="connsiteY4" fmla="*/ 1552575 h 6862763"/>
              <a:gd name="connsiteX0" fmla="*/ 3175 w 12201525"/>
              <a:gd name="connsiteY0" fmla="*/ 9175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3175 w 12201525"/>
              <a:gd name="connsiteY4" fmla="*/ 917575 h 6862763"/>
              <a:gd name="connsiteX0" fmla="*/ 68 w 12211118"/>
              <a:gd name="connsiteY0" fmla="*/ 790575 h 6862763"/>
              <a:gd name="connsiteX1" fmla="*/ 12206355 w 12211118"/>
              <a:gd name="connsiteY1" fmla="*/ 6862763 h 6862763"/>
              <a:gd name="connsiteX2" fmla="*/ 12211118 w 12211118"/>
              <a:gd name="connsiteY2" fmla="*/ 0 h 6862763"/>
              <a:gd name="connsiteX3" fmla="*/ 9593 w 12211118"/>
              <a:gd name="connsiteY3" fmla="*/ 0 h 6862763"/>
              <a:gd name="connsiteX4" fmla="*/ 68 w 12211118"/>
              <a:gd name="connsiteY4" fmla="*/ 790575 h 6862763"/>
              <a:gd name="connsiteX0" fmla="*/ 15875 w 12201525"/>
              <a:gd name="connsiteY0" fmla="*/ 7016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15875 w 12201525"/>
              <a:gd name="connsiteY4" fmla="*/ 701675 h 6862763"/>
              <a:gd name="connsiteX0" fmla="*/ 28575 w 12201525"/>
              <a:gd name="connsiteY0" fmla="*/ 6254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28575 w 12201525"/>
              <a:gd name="connsiteY4" fmla="*/ 625475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525" h="6862763">
                <a:moveTo>
                  <a:pt x="28575" y="625475"/>
                </a:moveTo>
                <a:cubicBezTo>
                  <a:pt x="4097337" y="2395538"/>
                  <a:pt x="8128000" y="5092700"/>
                  <a:pt x="12196762" y="6862763"/>
                </a:cubicBezTo>
                <a:cubicBezTo>
                  <a:pt x="12198350" y="4575175"/>
                  <a:pt x="12199937" y="2287588"/>
                  <a:pt x="12201525" y="0"/>
                </a:cubicBezTo>
                <a:lnTo>
                  <a:pt x="0" y="0"/>
                </a:lnTo>
                <a:cubicBezTo>
                  <a:pt x="1058" y="305858"/>
                  <a:pt x="27517" y="319617"/>
                  <a:pt x="28575" y="6254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C13901E-0274-4A70-9E54-F31B476A2A70}"/>
              </a:ext>
            </a:extLst>
          </p:cNvPr>
          <p:cNvSpPr/>
          <p:nvPr userDrawn="1"/>
        </p:nvSpPr>
        <p:spPr>
          <a:xfrm>
            <a:off x="9348711" y="3143393"/>
            <a:ext cx="2854167" cy="3714150"/>
          </a:xfrm>
          <a:custGeom>
            <a:avLst/>
            <a:gdLst>
              <a:gd name="connsiteX0" fmla="*/ 2929756 w 2929756"/>
              <a:gd name="connsiteY0" fmla="*/ 0 h 3707800"/>
              <a:gd name="connsiteX1" fmla="*/ 2929756 w 2929756"/>
              <a:gd name="connsiteY1" fmla="*/ 3707800 h 3707800"/>
              <a:gd name="connsiteX2" fmla="*/ 0 w 2929756"/>
              <a:gd name="connsiteY2" fmla="*/ 2414151 h 3707800"/>
              <a:gd name="connsiteX0" fmla="*/ 2929756 w 2929756"/>
              <a:gd name="connsiteY0" fmla="*/ 0 h 3771300"/>
              <a:gd name="connsiteX1" fmla="*/ 2866256 w 2929756"/>
              <a:gd name="connsiteY1" fmla="*/ 3771300 h 3771300"/>
              <a:gd name="connsiteX2" fmla="*/ 0 w 2929756"/>
              <a:gd name="connsiteY2" fmla="*/ 2414151 h 3771300"/>
              <a:gd name="connsiteX3" fmla="*/ 2929756 w 2929756"/>
              <a:gd name="connsiteY3" fmla="*/ 0 h 3771300"/>
              <a:gd name="connsiteX0" fmla="*/ 2885306 w 2885306"/>
              <a:gd name="connsiteY0" fmla="*/ 0 h 3752250"/>
              <a:gd name="connsiteX1" fmla="*/ 2866256 w 2885306"/>
              <a:gd name="connsiteY1" fmla="*/ 3752250 h 3752250"/>
              <a:gd name="connsiteX2" fmla="*/ 0 w 2885306"/>
              <a:gd name="connsiteY2" fmla="*/ 2395101 h 3752250"/>
              <a:gd name="connsiteX3" fmla="*/ 2885306 w 2885306"/>
              <a:gd name="connsiteY3" fmla="*/ 0 h 3752250"/>
              <a:gd name="connsiteX0" fmla="*/ 2872606 w 2872606"/>
              <a:gd name="connsiteY0" fmla="*/ 0 h 3714150"/>
              <a:gd name="connsiteX1" fmla="*/ 2866256 w 2872606"/>
              <a:gd name="connsiteY1" fmla="*/ 3714150 h 3714150"/>
              <a:gd name="connsiteX2" fmla="*/ 0 w 2872606"/>
              <a:gd name="connsiteY2" fmla="*/ 2357001 h 3714150"/>
              <a:gd name="connsiteX3" fmla="*/ 2872606 w 2872606"/>
              <a:gd name="connsiteY3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0 w 2873217"/>
              <a:gd name="connsiteY2" fmla="*/ 2357001 h 3714150"/>
              <a:gd name="connsiteX3" fmla="*/ 2872606 w 2873217"/>
              <a:gd name="connsiteY3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595640 w 2873217"/>
              <a:gd name="connsiteY2" fmla="*/ 357490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27390 w 2873217"/>
              <a:gd name="connsiteY2" fmla="*/ 363205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55965 w 2873217"/>
              <a:gd name="connsiteY2" fmla="*/ 3622532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17865 w 2873217"/>
              <a:gd name="connsiteY2" fmla="*/ 363205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22628 w 2873217"/>
              <a:gd name="connsiteY2" fmla="*/ 3608244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603578 w 2854167"/>
              <a:gd name="connsiteY2" fmla="*/ 3608244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55953 w 2854167"/>
              <a:gd name="connsiteY2" fmla="*/ 3608244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32141 w 2854167"/>
              <a:gd name="connsiteY2" fmla="*/ 3605863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32141 w 2854167"/>
              <a:gd name="connsiteY2" fmla="*/ 3605863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4167" h="3714150">
                <a:moveTo>
                  <a:pt x="2853556" y="0"/>
                </a:moveTo>
                <a:cubicBezTo>
                  <a:pt x="2851439" y="1238050"/>
                  <a:pt x="2855673" y="2476100"/>
                  <a:pt x="2853556" y="3714150"/>
                </a:cubicBezTo>
                <a:lnTo>
                  <a:pt x="2532141" y="3605863"/>
                </a:lnTo>
                <a:lnTo>
                  <a:pt x="0" y="2342713"/>
                </a:lnTo>
                <a:lnTo>
                  <a:pt x="2853556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71348FA-57BA-4956-9B31-348AE1E5E7CC}"/>
              </a:ext>
            </a:extLst>
          </p:cNvPr>
          <p:cNvSpPr/>
          <p:nvPr userDrawn="1"/>
        </p:nvSpPr>
        <p:spPr>
          <a:xfrm>
            <a:off x="-9526" y="-9527"/>
            <a:ext cx="4286251" cy="6877051"/>
          </a:xfrm>
          <a:custGeom>
            <a:avLst/>
            <a:gdLst>
              <a:gd name="connsiteX0" fmla="*/ 0 w 4248150"/>
              <a:gd name="connsiteY0" fmla="*/ 0 h 6877050"/>
              <a:gd name="connsiteX1" fmla="*/ 0 w 4248150"/>
              <a:gd name="connsiteY1" fmla="*/ 6877050 h 6877050"/>
              <a:gd name="connsiteX2" fmla="*/ 2914650 w 4248150"/>
              <a:gd name="connsiteY2" fmla="*/ 6877050 h 6877050"/>
              <a:gd name="connsiteX3" fmla="*/ 4248150 w 4248150"/>
              <a:gd name="connsiteY3" fmla="*/ 5753100 h 6877050"/>
              <a:gd name="connsiteX4" fmla="*/ 962025 w 4248150"/>
              <a:gd name="connsiteY4" fmla="*/ 19050 h 6877050"/>
              <a:gd name="connsiteX5" fmla="*/ 0 w 4248150"/>
              <a:gd name="connsiteY5" fmla="*/ 0 h 6877050"/>
              <a:gd name="connsiteX0" fmla="*/ 0 w 4248150"/>
              <a:gd name="connsiteY0" fmla="*/ 1 h 6877051"/>
              <a:gd name="connsiteX1" fmla="*/ 0 w 4248150"/>
              <a:gd name="connsiteY1" fmla="*/ 6877051 h 6877051"/>
              <a:gd name="connsiteX2" fmla="*/ 2914650 w 4248150"/>
              <a:gd name="connsiteY2" fmla="*/ 6877051 h 6877051"/>
              <a:gd name="connsiteX3" fmla="*/ 4248150 w 4248150"/>
              <a:gd name="connsiteY3" fmla="*/ 5753101 h 6877051"/>
              <a:gd name="connsiteX4" fmla="*/ 952500 w 4248150"/>
              <a:gd name="connsiteY4" fmla="*/ 0 h 6877051"/>
              <a:gd name="connsiteX5" fmla="*/ 0 w 42481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14650 w 4286250"/>
              <a:gd name="connsiteY2" fmla="*/ 6877051 h 6877051"/>
              <a:gd name="connsiteX3" fmla="*/ 4286250 w 4286250"/>
              <a:gd name="connsiteY3" fmla="*/ 574675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27350 w 4286250"/>
              <a:gd name="connsiteY2" fmla="*/ 6877051 h 6877051"/>
              <a:gd name="connsiteX3" fmla="*/ 4286250 w 4286250"/>
              <a:gd name="connsiteY3" fmla="*/ 574675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27350 w 4286250"/>
              <a:gd name="connsiteY2" fmla="*/ 6877051 h 6877051"/>
              <a:gd name="connsiteX3" fmla="*/ 4286250 w 4286250"/>
              <a:gd name="connsiteY3" fmla="*/ 575310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6250" h="6877051">
                <a:moveTo>
                  <a:pt x="0" y="1"/>
                </a:moveTo>
                <a:lnTo>
                  <a:pt x="0" y="6877051"/>
                </a:lnTo>
                <a:lnTo>
                  <a:pt x="2927350" y="6877051"/>
                </a:lnTo>
                <a:lnTo>
                  <a:pt x="4286250" y="5753101"/>
                </a:lnTo>
                <a:lnTo>
                  <a:pt x="95250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noProof="0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2DCC58E-A4D6-45DC-BAB4-7C5D3B8CDB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8695" y="2506796"/>
            <a:ext cx="8163188" cy="1006475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GB" noProof="0" dirty="0"/>
              <a:t>Header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282ECD2-D70B-41C5-87C7-72AF4BC883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9302" y="3724407"/>
            <a:ext cx="8239124" cy="728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pace for subtitle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A52F2AF-1BD3-482F-8024-ED87C89BBC0E}"/>
              </a:ext>
            </a:extLst>
          </p:cNvPr>
          <p:cNvSpPr/>
          <p:nvPr userDrawn="1"/>
        </p:nvSpPr>
        <p:spPr>
          <a:xfrm>
            <a:off x="2916766" y="5740665"/>
            <a:ext cx="2025227" cy="1126755"/>
          </a:xfrm>
          <a:custGeom>
            <a:avLst/>
            <a:gdLst>
              <a:gd name="connsiteX0" fmla="*/ 0 w 2025226"/>
              <a:gd name="connsiteY0" fmla="*/ 1124374 h 1124374"/>
              <a:gd name="connsiteX1" fmla="*/ 1361440 w 2025226"/>
              <a:gd name="connsiteY1" fmla="*/ 0 h 1124374"/>
              <a:gd name="connsiteX2" fmla="*/ 2025226 w 2025226"/>
              <a:gd name="connsiteY2" fmla="*/ 1117600 h 1124374"/>
              <a:gd name="connsiteX3" fmla="*/ 0 w 2025226"/>
              <a:gd name="connsiteY3" fmla="*/ 1124374 h 1124374"/>
              <a:gd name="connsiteX0" fmla="*/ 0 w 2025226"/>
              <a:gd name="connsiteY0" fmla="*/ 1129137 h 1129137"/>
              <a:gd name="connsiteX1" fmla="*/ 1370965 w 2025226"/>
              <a:gd name="connsiteY1" fmla="*/ 0 h 1129137"/>
              <a:gd name="connsiteX2" fmla="*/ 2025226 w 2025226"/>
              <a:gd name="connsiteY2" fmla="*/ 1122363 h 1129137"/>
              <a:gd name="connsiteX3" fmla="*/ 0 w 2025226"/>
              <a:gd name="connsiteY3" fmla="*/ 1129137 h 1129137"/>
              <a:gd name="connsiteX0" fmla="*/ 0 w 2025226"/>
              <a:gd name="connsiteY0" fmla="*/ 1141043 h 1141043"/>
              <a:gd name="connsiteX1" fmla="*/ 1361440 w 2025226"/>
              <a:gd name="connsiteY1" fmla="*/ 0 h 1141043"/>
              <a:gd name="connsiteX2" fmla="*/ 2025226 w 2025226"/>
              <a:gd name="connsiteY2" fmla="*/ 1134269 h 1141043"/>
              <a:gd name="connsiteX3" fmla="*/ 0 w 2025226"/>
              <a:gd name="connsiteY3" fmla="*/ 1141043 h 1141043"/>
              <a:gd name="connsiteX0" fmla="*/ 0 w 2025226"/>
              <a:gd name="connsiteY0" fmla="*/ 1141043 h 1141043"/>
              <a:gd name="connsiteX1" fmla="*/ 1361440 w 2025226"/>
              <a:gd name="connsiteY1" fmla="*/ 0 h 1141043"/>
              <a:gd name="connsiteX2" fmla="*/ 2025226 w 2025226"/>
              <a:gd name="connsiteY2" fmla="*/ 1124744 h 1141043"/>
              <a:gd name="connsiteX3" fmla="*/ 0 w 2025226"/>
              <a:gd name="connsiteY3" fmla="*/ 1141043 h 1141043"/>
              <a:gd name="connsiteX0" fmla="*/ 0 w 2025226"/>
              <a:gd name="connsiteY0" fmla="*/ 1126755 h 1126755"/>
              <a:gd name="connsiteX1" fmla="*/ 1361440 w 2025226"/>
              <a:gd name="connsiteY1" fmla="*/ 0 h 1126755"/>
              <a:gd name="connsiteX2" fmla="*/ 2025226 w 2025226"/>
              <a:gd name="connsiteY2" fmla="*/ 1124744 h 1126755"/>
              <a:gd name="connsiteX3" fmla="*/ 0 w 2025226"/>
              <a:gd name="connsiteY3" fmla="*/ 1126755 h 112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5226" h="1126755">
                <a:moveTo>
                  <a:pt x="0" y="1126755"/>
                </a:moveTo>
                <a:lnTo>
                  <a:pt x="1361440" y="0"/>
                </a:lnTo>
                <a:lnTo>
                  <a:pt x="2025226" y="1124744"/>
                </a:lnTo>
                <a:lnTo>
                  <a:pt x="0" y="1126755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7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29" name="Rechthoek 6">
            <a:extLst>
              <a:ext uri="{FF2B5EF4-FFF2-40B4-BE49-F238E27FC236}">
                <a16:creationId xmlns:a16="http://schemas.microsoft.com/office/drawing/2014/main" id="{939F435D-1D63-4ED9-8C0B-F19B4FFDA104}"/>
              </a:ext>
            </a:extLst>
          </p:cNvPr>
          <p:cNvSpPr/>
          <p:nvPr userDrawn="1"/>
        </p:nvSpPr>
        <p:spPr>
          <a:xfrm>
            <a:off x="11468969" y="6418608"/>
            <a:ext cx="39626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GB" sz="9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6D7AD661-DF20-4884-B330-435E5009E890}"/>
              </a:ext>
            </a:extLst>
          </p:cNvPr>
          <p:cNvSpPr>
            <a:spLocks/>
          </p:cNvSpPr>
          <p:nvPr userDrawn="1"/>
        </p:nvSpPr>
        <p:spPr bwMode="auto">
          <a:xfrm>
            <a:off x="10525904" y="6253810"/>
            <a:ext cx="1675621" cy="604194"/>
          </a:xfrm>
          <a:custGeom>
            <a:avLst/>
            <a:gdLst>
              <a:gd name="T0" fmla="*/ 0 w 3176"/>
              <a:gd name="T1" fmla="*/ 1121 h 1121"/>
              <a:gd name="T2" fmla="*/ 821 w 3176"/>
              <a:gd name="T3" fmla="*/ 0 h 1121"/>
              <a:gd name="T4" fmla="*/ 3176 w 3176"/>
              <a:gd name="T5" fmla="*/ 0 h 1121"/>
              <a:gd name="T6" fmla="*/ 3176 w 3176"/>
              <a:gd name="T7" fmla="*/ 1121 h 1121"/>
              <a:gd name="T8" fmla="*/ 0 w 3176"/>
              <a:gd name="T9" fmla="*/ 1121 h 1121"/>
              <a:gd name="connsiteX0" fmla="*/ 0 w 10000"/>
              <a:gd name="connsiteY0" fmla="*/ 10040 h 10040"/>
              <a:gd name="connsiteX1" fmla="*/ 2292 w 10000"/>
              <a:gd name="connsiteY1" fmla="*/ 0 h 10040"/>
              <a:gd name="connsiteX2" fmla="*/ 10000 w 10000"/>
              <a:gd name="connsiteY2" fmla="*/ 40 h 10040"/>
              <a:gd name="connsiteX3" fmla="*/ 10000 w 10000"/>
              <a:gd name="connsiteY3" fmla="*/ 10040 h 10040"/>
              <a:gd name="connsiteX4" fmla="*/ 0 w 10000"/>
              <a:gd name="connsiteY4" fmla="*/ 1004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40">
                <a:moveTo>
                  <a:pt x="0" y="10040"/>
                </a:moveTo>
                <a:lnTo>
                  <a:pt x="2292" y="0"/>
                </a:lnTo>
                <a:lnTo>
                  <a:pt x="10000" y="40"/>
                </a:lnTo>
                <a:lnTo>
                  <a:pt x="10000" y="10040"/>
                </a:lnTo>
                <a:lnTo>
                  <a:pt x="0" y="10040"/>
                </a:lnTo>
                <a:close/>
              </a:path>
            </a:pathLst>
          </a:custGeom>
          <a:solidFill>
            <a:srgbClr val="EA5B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 dirty="0"/>
          </a:p>
        </p:txBody>
      </p: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EB9E018E-E1E6-432B-9338-2A6A1E5CB87A}"/>
              </a:ext>
            </a:extLst>
          </p:cNvPr>
          <p:cNvSpPr/>
          <p:nvPr userDrawn="1"/>
        </p:nvSpPr>
        <p:spPr>
          <a:xfrm>
            <a:off x="10530808" y="500295"/>
            <a:ext cx="1017738" cy="290281"/>
          </a:xfrm>
          <a:custGeom>
            <a:avLst/>
            <a:gdLst>
              <a:gd name="connsiteX0" fmla="*/ 696675 w 1017738"/>
              <a:gd name="connsiteY0" fmla="*/ 158105 h 290281"/>
              <a:gd name="connsiteX1" fmla="*/ 672214 w 1017738"/>
              <a:gd name="connsiteY1" fmla="*/ 161041 h 290281"/>
              <a:gd name="connsiteX2" fmla="*/ 654846 w 1017738"/>
              <a:gd name="connsiteY2" fmla="*/ 182323 h 290281"/>
              <a:gd name="connsiteX3" fmla="*/ 676861 w 1017738"/>
              <a:gd name="connsiteY3" fmla="*/ 201647 h 290281"/>
              <a:gd name="connsiteX4" fmla="*/ 696920 w 1017738"/>
              <a:gd name="connsiteY4" fmla="*/ 199201 h 290281"/>
              <a:gd name="connsiteX5" fmla="*/ 696675 w 1017738"/>
              <a:gd name="connsiteY5" fmla="*/ 158105 h 290281"/>
              <a:gd name="connsiteX6" fmla="*/ 500770 w 1017738"/>
              <a:gd name="connsiteY6" fmla="*/ 107856 h 290281"/>
              <a:gd name="connsiteX7" fmla="*/ 495109 w 1017738"/>
              <a:gd name="connsiteY7" fmla="*/ 108203 h 290281"/>
              <a:gd name="connsiteX8" fmla="*/ 482389 w 1017738"/>
              <a:gd name="connsiteY8" fmla="*/ 109915 h 290281"/>
              <a:gd name="connsiteX9" fmla="*/ 482389 w 1017738"/>
              <a:gd name="connsiteY9" fmla="*/ 200180 h 290281"/>
              <a:gd name="connsiteX10" fmla="*/ 500002 w 1017738"/>
              <a:gd name="connsiteY10" fmla="*/ 202626 h 290281"/>
              <a:gd name="connsiteX11" fmla="*/ 534982 w 1017738"/>
              <a:gd name="connsiteY11" fmla="*/ 150767 h 290281"/>
              <a:gd name="connsiteX12" fmla="*/ 500770 w 1017738"/>
              <a:gd name="connsiteY12" fmla="*/ 107856 h 290281"/>
              <a:gd name="connsiteX13" fmla="*/ 680839 w 1017738"/>
              <a:gd name="connsiteY13" fmla="*/ 74177 h 290281"/>
              <a:gd name="connsiteX14" fmla="*/ 699774 w 1017738"/>
              <a:gd name="connsiteY14" fmla="*/ 74527 h 290281"/>
              <a:gd name="connsiteX15" fmla="*/ 742990 w 1017738"/>
              <a:gd name="connsiteY15" fmla="*/ 121657 h 290281"/>
              <a:gd name="connsiteX16" fmla="*/ 742990 w 1017738"/>
              <a:gd name="connsiteY16" fmla="*/ 230594 h 290281"/>
              <a:gd name="connsiteX17" fmla="*/ 698632 w 1017738"/>
              <a:gd name="connsiteY17" fmla="*/ 230594 h 290281"/>
              <a:gd name="connsiteX18" fmla="*/ 698632 w 1017738"/>
              <a:gd name="connsiteY18" fmla="*/ 219505 h 290281"/>
              <a:gd name="connsiteX19" fmla="*/ 652318 w 1017738"/>
              <a:gd name="connsiteY19" fmla="*/ 232551 h 290281"/>
              <a:gd name="connsiteX20" fmla="*/ 609265 w 1017738"/>
              <a:gd name="connsiteY20" fmla="*/ 188846 h 290281"/>
              <a:gd name="connsiteX21" fmla="*/ 654275 w 1017738"/>
              <a:gd name="connsiteY21" fmla="*/ 137313 h 290281"/>
              <a:gd name="connsiteX22" fmla="*/ 696675 w 1017738"/>
              <a:gd name="connsiteY22" fmla="*/ 136660 h 290281"/>
              <a:gd name="connsiteX23" fmla="*/ 696675 w 1017738"/>
              <a:gd name="connsiteY23" fmla="*/ 119700 h 290281"/>
              <a:gd name="connsiteX24" fmla="*/ 675149 w 1017738"/>
              <a:gd name="connsiteY24" fmla="*/ 104697 h 290281"/>
              <a:gd name="connsiteX25" fmla="*/ 621007 w 1017738"/>
              <a:gd name="connsiteY25" fmla="*/ 109915 h 290281"/>
              <a:gd name="connsiteX26" fmla="*/ 621007 w 1017738"/>
              <a:gd name="connsiteY26" fmla="*/ 83170 h 290281"/>
              <a:gd name="connsiteX27" fmla="*/ 680839 w 1017738"/>
              <a:gd name="connsiteY27" fmla="*/ 74177 h 290281"/>
              <a:gd name="connsiteX28" fmla="*/ 880629 w 1017738"/>
              <a:gd name="connsiteY28" fmla="*/ 73712 h 290281"/>
              <a:gd name="connsiteX29" fmla="*/ 911940 w 1017738"/>
              <a:gd name="connsiteY29" fmla="*/ 87655 h 290281"/>
              <a:gd name="connsiteX30" fmla="*/ 981657 w 1017738"/>
              <a:gd name="connsiteY30" fmla="*/ 74446 h 290281"/>
              <a:gd name="connsiteX31" fmla="*/ 1017616 w 1017738"/>
              <a:gd name="connsiteY31" fmla="*/ 117009 h 290281"/>
              <a:gd name="connsiteX32" fmla="*/ 1017616 w 1017738"/>
              <a:gd name="connsiteY32" fmla="*/ 77870 h 290281"/>
              <a:gd name="connsiteX33" fmla="*/ 1017738 w 1017738"/>
              <a:gd name="connsiteY33" fmla="*/ 77870 h 290281"/>
              <a:gd name="connsiteX34" fmla="*/ 1017738 w 1017738"/>
              <a:gd name="connsiteY34" fmla="*/ 116031 h 290281"/>
              <a:gd name="connsiteX35" fmla="*/ 1017738 w 1017738"/>
              <a:gd name="connsiteY35" fmla="*/ 134377 h 290281"/>
              <a:gd name="connsiteX36" fmla="*/ 1017738 w 1017738"/>
              <a:gd name="connsiteY36" fmla="*/ 230023 h 290281"/>
              <a:gd name="connsiteX37" fmla="*/ 969670 w 1017738"/>
              <a:gd name="connsiteY37" fmla="*/ 230023 h 290281"/>
              <a:gd name="connsiteX38" fmla="*/ 969670 w 1017738"/>
              <a:gd name="connsiteY38" fmla="*/ 148321 h 290281"/>
              <a:gd name="connsiteX39" fmla="*/ 969879 w 1017738"/>
              <a:gd name="connsiteY39" fmla="*/ 148321 h 290281"/>
              <a:gd name="connsiteX40" fmla="*/ 969879 w 1017738"/>
              <a:gd name="connsiteY40" fmla="*/ 123125 h 290281"/>
              <a:gd name="connsiteX41" fmla="*/ 949731 w 1017738"/>
              <a:gd name="connsiteY41" fmla="*/ 107225 h 290281"/>
              <a:gd name="connsiteX42" fmla="*/ 922459 w 1017738"/>
              <a:gd name="connsiteY42" fmla="*/ 110160 h 290281"/>
              <a:gd name="connsiteX43" fmla="*/ 922615 w 1017738"/>
              <a:gd name="connsiteY43" fmla="*/ 134377 h 290281"/>
              <a:gd name="connsiteX44" fmla="*/ 922581 w 1017738"/>
              <a:gd name="connsiteY44" fmla="*/ 134377 h 290281"/>
              <a:gd name="connsiteX45" fmla="*/ 922581 w 1017738"/>
              <a:gd name="connsiteY45" fmla="*/ 230023 h 290281"/>
              <a:gd name="connsiteX46" fmla="*/ 874024 w 1017738"/>
              <a:gd name="connsiteY46" fmla="*/ 230023 h 290281"/>
              <a:gd name="connsiteX47" fmla="*/ 874024 w 1017738"/>
              <a:gd name="connsiteY47" fmla="*/ 134377 h 290281"/>
              <a:gd name="connsiteX48" fmla="*/ 874015 w 1017738"/>
              <a:gd name="connsiteY48" fmla="*/ 134377 h 290281"/>
              <a:gd name="connsiteX49" fmla="*/ 873989 w 1017738"/>
              <a:gd name="connsiteY49" fmla="*/ 123125 h 290281"/>
              <a:gd name="connsiteX50" fmla="*/ 854361 w 1017738"/>
              <a:gd name="connsiteY50" fmla="*/ 107225 h 290281"/>
              <a:gd name="connsiteX51" fmla="*/ 827791 w 1017738"/>
              <a:gd name="connsiteY51" fmla="*/ 110160 h 290281"/>
              <a:gd name="connsiteX52" fmla="*/ 828031 w 1017738"/>
              <a:gd name="connsiteY52" fmla="*/ 148321 h 290281"/>
              <a:gd name="connsiteX53" fmla="*/ 828036 w 1017738"/>
              <a:gd name="connsiteY53" fmla="*/ 148321 h 290281"/>
              <a:gd name="connsiteX54" fmla="*/ 828036 w 1017738"/>
              <a:gd name="connsiteY54" fmla="*/ 230023 h 290281"/>
              <a:gd name="connsiteX55" fmla="*/ 780824 w 1017738"/>
              <a:gd name="connsiteY55" fmla="*/ 230023 h 290281"/>
              <a:gd name="connsiteX56" fmla="*/ 780824 w 1017738"/>
              <a:gd name="connsiteY56" fmla="*/ 77381 h 290281"/>
              <a:gd name="connsiteX57" fmla="*/ 828036 w 1017738"/>
              <a:gd name="connsiteY57" fmla="*/ 77381 h 290281"/>
              <a:gd name="connsiteX58" fmla="*/ 828036 w 1017738"/>
              <a:gd name="connsiteY58" fmla="*/ 77870 h 290281"/>
              <a:gd name="connsiteX59" fmla="*/ 828036 w 1017738"/>
              <a:gd name="connsiteY59" fmla="*/ 86921 h 290281"/>
              <a:gd name="connsiteX60" fmla="*/ 880629 w 1017738"/>
              <a:gd name="connsiteY60" fmla="*/ 73712 h 290281"/>
              <a:gd name="connsiteX61" fmla="*/ 434444 w 1017738"/>
              <a:gd name="connsiteY61" fmla="*/ 326 h 290281"/>
              <a:gd name="connsiteX62" fmla="*/ 482715 w 1017738"/>
              <a:gd name="connsiteY62" fmla="*/ 326 h 290281"/>
              <a:gd name="connsiteX63" fmla="*/ 482715 w 1017738"/>
              <a:gd name="connsiteY63" fmla="*/ 85780 h 290281"/>
              <a:gd name="connsiteX64" fmla="*/ 525768 w 1017738"/>
              <a:gd name="connsiteY64" fmla="*/ 74038 h 290281"/>
              <a:gd name="connsiteX65" fmla="*/ 583824 w 1017738"/>
              <a:gd name="connsiteY65" fmla="*/ 145793 h 290281"/>
              <a:gd name="connsiteX66" fmla="*/ 523159 w 1017738"/>
              <a:gd name="connsiteY66" fmla="*/ 228637 h 290281"/>
              <a:gd name="connsiteX67" fmla="*/ 434444 w 1017738"/>
              <a:gd name="connsiteY67" fmla="*/ 222114 h 290281"/>
              <a:gd name="connsiteX68" fmla="*/ 254241 w 1017738"/>
              <a:gd name="connsiteY68" fmla="*/ 0 h 290281"/>
              <a:gd name="connsiteX69" fmla="*/ 322408 w 1017738"/>
              <a:gd name="connsiteY69" fmla="*/ 10111 h 290281"/>
              <a:gd name="connsiteX70" fmla="*/ 301208 w 1017738"/>
              <a:gd name="connsiteY70" fmla="*/ 76484 h 290281"/>
              <a:gd name="connsiteX71" fmla="*/ 371984 w 1017738"/>
              <a:gd name="connsiteY71" fmla="*/ 92140 h 290281"/>
              <a:gd name="connsiteX72" fmla="*/ 233856 w 1017738"/>
              <a:gd name="connsiteY72" fmla="*/ 290281 h 290281"/>
              <a:gd name="connsiteX73" fmla="*/ 132584 w 1017738"/>
              <a:gd name="connsiteY73" fmla="*/ 227659 h 290281"/>
              <a:gd name="connsiteX74" fmla="*/ 95728 w 1017738"/>
              <a:gd name="connsiteY74" fmla="*/ 258970 h 290281"/>
              <a:gd name="connsiteX75" fmla="*/ 90183 w 1017738"/>
              <a:gd name="connsiteY75" fmla="*/ 157535 h 290281"/>
              <a:gd name="connsiteX76" fmla="*/ 0 w 1017738"/>
              <a:gd name="connsiteY76" fmla="*/ 113340 h 290281"/>
              <a:gd name="connsiteX77" fmla="*/ 87574 w 1017738"/>
              <a:gd name="connsiteY77" fmla="*/ 74690 h 290281"/>
              <a:gd name="connsiteX78" fmla="*/ 174984 w 1017738"/>
              <a:gd name="connsiteY78" fmla="*/ 104208 h 290281"/>
              <a:gd name="connsiteX79" fmla="*/ 170418 w 1017738"/>
              <a:gd name="connsiteY79" fmla="*/ 154762 h 290281"/>
              <a:gd name="connsiteX80" fmla="*/ 198957 w 1017738"/>
              <a:gd name="connsiteY80" fmla="*/ 167646 h 290281"/>
              <a:gd name="connsiteX81" fmla="*/ 213634 w 1017738"/>
              <a:gd name="connsiteY81" fmla="*/ 79257 h 290281"/>
              <a:gd name="connsiteX82" fmla="*/ 128017 w 1017738"/>
              <a:gd name="connsiteY82" fmla="*/ 56262 h 290281"/>
              <a:gd name="connsiteX83" fmla="*/ 178735 w 1017738"/>
              <a:gd name="connsiteY83" fmla="*/ 34084 h 290281"/>
              <a:gd name="connsiteX84" fmla="*/ 259786 w 1017738"/>
              <a:gd name="connsiteY84" fmla="*/ 49739 h 290281"/>
              <a:gd name="connsiteX85" fmla="*/ 248696 w 1017738"/>
              <a:gd name="connsiteY85" fmla="*/ 98663 h 290281"/>
              <a:gd name="connsiteX86" fmla="*/ 269897 w 1017738"/>
              <a:gd name="connsiteY86" fmla="*/ 104208 h 290281"/>
              <a:gd name="connsiteX87" fmla="*/ 290118 w 1017738"/>
              <a:gd name="connsiteY87" fmla="*/ 30496 h 290281"/>
              <a:gd name="connsiteX88" fmla="*/ 214613 w 1017738"/>
              <a:gd name="connsiteY88" fmla="*/ 17450 h 29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017738" h="290281">
                <a:moveTo>
                  <a:pt x="696675" y="158105"/>
                </a:moveTo>
                <a:cubicBezTo>
                  <a:pt x="688521" y="159084"/>
                  <a:pt x="678900" y="159084"/>
                  <a:pt x="672214" y="161041"/>
                </a:cubicBezTo>
                <a:cubicBezTo>
                  <a:pt x="667647" y="162753"/>
                  <a:pt x="654356" y="165118"/>
                  <a:pt x="654846" y="182323"/>
                </a:cubicBezTo>
                <a:cubicBezTo>
                  <a:pt x="655335" y="199527"/>
                  <a:pt x="670257" y="201321"/>
                  <a:pt x="676861" y="201647"/>
                </a:cubicBezTo>
                <a:cubicBezTo>
                  <a:pt x="684281" y="202544"/>
                  <a:pt x="690234" y="200017"/>
                  <a:pt x="696920" y="199201"/>
                </a:cubicBezTo>
                <a:cubicBezTo>
                  <a:pt x="696838" y="185503"/>
                  <a:pt x="696757" y="171804"/>
                  <a:pt x="696675" y="158105"/>
                </a:cubicBezTo>
                <a:close/>
                <a:moveTo>
                  <a:pt x="500770" y="107856"/>
                </a:moveTo>
                <a:cubicBezTo>
                  <a:pt x="498972" y="107847"/>
                  <a:pt x="497087" y="107959"/>
                  <a:pt x="495109" y="108203"/>
                </a:cubicBezTo>
                <a:lnTo>
                  <a:pt x="482389" y="109915"/>
                </a:lnTo>
                <a:lnTo>
                  <a:pt x="482389" y="200180"/>
                </a:lnTo>
                <a:cubicBezTo>
                  <a:pt x="487281" y="201485"/>
                  <a:pt x="493152" y="203768"/>
                  <a:pt x="500002" y="202626"/>
                </a:cubicBezTo>
                <a:cubicBezTo>
                  <a:pt x="532454" y="198549"/>
                  <a:pt x="535308" y="167075"/>
                  <a:pt x="534982" y="150767"/>
                </a:cubicBezTo>
                <a:cubicBezTo>
                  <a:pt x="534906" y="135402"/>
                  <a:pt x="527734" y="107997"/>
                  <a:pt x="500770" y="107856"/>
                </a:cubicBezTo>
                <a:close/>
                <a:moveTo>
                  <a:pt x="680839" y="74177"/>
                </a:moveTo>
                <a:cubicBezTo>
                  <a:pt x="687166" y="73934"/>
                  <a:pt x="693455" y="74024"/>
                  <a:pt x="699774" y="74527"/>
                </a:cubicBezTo>
                <a:cubicBezTo>
                  <a:pt x="728122" y="76049"/>
                  <a:pt x="743017" y="97875"/>
                  <a:pt x="742990" y="121657"/>
                </a:cubicBezTo>
                <a:lnTo>
                  <a:pt x="742990" y="230594"/>
                </a:lnTo>
                <a:lnTo>
                  <a:pt x="698632" y="230594"/>
                </a:lnTo>
                <a:lnTo>
                  <a:pt x="698632" y="219505"/>
                </a:lnTo>
                <a:cubicBezTo>
                  <a:pt x="688331" y="226055"/>
                  <a:pt x="673627" y="232850"/>
                  <a:pt x="652318" y="232551"/>
                </a:cubicBezTo>
                <a:cubicBezTo>
                  <a:pt x="621822" y="230947"/>
                  <a:pt x="609917" y="210019"/>
                  <a:pt x="609265" y="188846"/>
                </a:cubicBezTo>
                <a:cubicBezTo>
                  <a:pt x="607878" y="143781"/>
                  <a:pt x="641228" y="140792"/>
                  <a:pt x="654275" y="137313"/>
                </a:cubicBezTo>
                <a:cubicBezTo>
                  <a:pt x="670854" y="134160"/>
                  <a:pt x="684988" y="133698"/>
                  <a:pt x="696675" y="136660"/>
                </a:cubicBezTo>
                <a:lnTo>
                  <a:pt x="696675" y="119700"/>
                </a:lnTo>
                <a:cubicBezTo>
                  <a:pt x="696349" y="111519"/>
                  <a:pt x="688440" y="103093"/>
                  <a:pt x="675149" y="104697"/>
                </a:cubicBezTo>
                <a:cubicBezTo>
                  <a:pt x="653677" y="105213"/>
                  <a:pt x="639054" y="108176"/>
                  <a:pt x="621007" y="109915"/>
                </a:cubicBezTo>
                <a:lnTo>
                  <a:pt x="621007" y="83170"/>
                </a:lnTo>
                <a:cubicBezTo>
                  <a:pt x="642533" y="78624"/>
                  <a:pt x="661858" y="74904"/>
                  <a:pt x="680839" y="74177"/>
                </a:cubicBezTo>
                <a:close/>
                <a:moveTo>
                  <a:pt x="880629" y="73712"/>
                </a:moveTo>
                <a:cubicBezTo>
                  <a:pt x="896448" y="74690"/>
                  <a:pt x="906396" y="82029"/>
                  <a:pt x="911940" y="87655"/>
                </a:cubicBezTo>
                <a:cubicBezTo>
                  <a:pt x="927841" y="81050"/>
                  <a:pt x="965512" y="72733"/>
                  <a:pt x="981657" y="74446"/>
                </a:cubicBezTo>
                <a:cubicBezTo>
                  <a:pt x="1005629" y="78604"/>
                  <a:pt x="1016882" y="95972"/>
                  <a:pt x="1017616" y="117009"/>
                </a:cubicBezTo>
                <a:lnTo>
                  <a:pt x="1017616" y="77870"/>
                </a:lnTo>
                <a:lnTo>
                  <a:pt x="1017738" y="77870"/>
                </a:lnTo>
                <a:lnTo>
                  <a:pt x="1017738" y="116031"/>
                </a:lnTo>
                <a:lnTo>
                  <a:pt x="1017738" y="134377"/>
                </a:lnTo>
                <a:lnTo>
                  <a:pt x="1017738" y="230023"/>
                </a:lnTo>
                <a:lnTo>
                  <a:pt x="969670" y="230023"/>
                </a:lnTo>
                <a:lnTo>
                  <a:pt x="969670" y="148321"/>
                </a:lnTo>
                <a:lnTo>
                  <a:pt x="969879" y="148321"/>
                </a:lnTo>
                <a:cubicBezTo>
                  <a:pt x="969879" y="139922"/>
                  <a:pt x="969960" y="132339"/>
                  <a:pt x="969879" y="123125"/>
                </a:cubicBezTo>
                <a:cubicBezTo>
                  <a:pt x="969797" y="113911"/>
                  <a:pt x="959641" y="106898"/>
                  <a:pt x="949731" y="107225"/>
                </a:cubicBezTo>
                <a:cubicBezTo>
                  <a:pt x="940641" y="107714"/>
                  <a:pt x="931550" y="108448"/>
                  <a:pt x="922459" y="110160"/>
                </a:cubicBezTo>
                <a:lnTo>
                  <a:pt x="922615" y="134377"/>
                </a:lnTo>
                <a:lnTo>
                  <a:pt x="922581" y="134377"/>
                </a:lnTo>
                <a:lnTo>
                  <a:pt x="922581" y="230023"/>
                </a:lnTo>
                <a:lnTo>
                  <a:pt x="874024" y="230023"/>
                </a:lnTo>
                <a:lnTo>
                  <a:pt x="874024" y="134377"/>
                </a:lnTo>
                <a:lnTo>
                  <a:pt x="874015" y="134377"/>
                </a:lnTo>
                <a:lnTo>
                  <a:pt x="873989" y="123125"/>
                </a:lnTo>
                <a:cubicBezTo>
                  <a:pt x="873909" y="113911"/>
                  <a:pt x="864015" y="106898"/>
                  <a:pt x="854361" y="107225"/>
                </a:cubicBezTo>
                <a:cubicBezTo>
                  <a:pt x="845505" y="107714"/>
                  <a:pt x="836648" y="108448"/>
                  <a:pt x="827791" y="110160"/>
                </a:cubicBezTo>
                <a:cubicBezTo>
                  <a:pt x="827951" y="122880"/>
                  <a:pt x="827871" y="135600"/>
                  <a:pt x="828031" y="148321"/>
                </a:cubicBezTo>
                <a:lnTo>
                  <a:pt x="828036" y="148321"/>
                </a:lnTo>
                <a:lnTo>
                  <a:pt x="828036" y="230023"/>
                </a:lnTo>
                <a:lnTo>
                  <a:pt x="780824" y="230023"/>
                </a:lnTo>
                <a:lnTo>
                  <a:pt x="780824" y="77381"/>
                </a:lnTo>
                <a:lnTo>
                  <a:pt x="828036" y="77381"/>
                </a:lnTo>
                <a:lnTo>
                  <a:pt x="828036" y="77870"/>
                </a:lnTo>
                <a:lnTo>
                  <a:pt x="828036" y="86921"/>
                </a:lnTo>
                <a:cubicBezTo>
                  <a:pt x="849970" y="78604"/>
                  <a:pt x="859918" y="74201"/>
                  <a:pt x="880629" y="73712"/>
                </a:cubicBezTo>
                <a:close/>
                <a:moveTo>
                  <a:pt x="434444" y="326"/>
                </a:moveTo>
                <a:lnTo>
                  <a:pt x="482715" y="326"/>
                </a:lnTo>
                <a:lnTo>
                  <a:pt x="482715" y="85780"/>
                </a:lnTo>
                <a:cubicBezTo>
                  <a:pt x="493397" y="81621"/>
                  <a:pt x="507993" y="73304"/>
                  <a:pt x="525768" y="74038"/>
                </a:cubicBezTo>
                <a:cubicBezTo>
                  <a:pt x="560123" y="76348"/>
                  <a:pt x="583879" y="103365"/>
                  <a:pt x="583824" y="145793"/>
                </a:cubicBezTo>
                <a:cubicBezTo>
                  <a:pt x="583770" y="188221"/>
                  <a:pt x="565641" y="218390"/>
                  <a:pt x="523159" y="228637"/>
                </a:cubicBezTo>
                <a:cubicBezTo>
                  <a:pt x="480677" y="238884"/>
                  <a:pt x="464015" y="224288"/>
                  <a:pt x="434444" y="222114"/>
                </a:cubicBezTo>
                <a:close/>
                <a:moveTo>
                  <a:pt x="254241" y="0"/>
                </a:moveTo>
                <a:lnTo>
                  <a:pt x="322408" y="10111"/>
                </a:lnTo>
                <a:lnTo>
                  <a:pt x="301208" y="76484"/>
                </a:lnTo>
                <a:lnTo>
                  <a:pt x="371984" y="92140"/>
                </a:lnTo>
                <a:lnTo>
                  <a:pt x="233856" y="290281"/>
                </a:lnTo>
                <a:lnTo>
                  <a:pt x="132584" y="227659"/>
                </a:lnTo>
                <a:lnTo>
                  <a:pt x="95728" y="258970"/>
                </a:lnTo>
                <a:lnTo>
                  <a:pt x="90183" y="157535"/>
                </a:lnTo>
                <a:lnTo>
                  <a:pt x="0" y="113340"/>
                </a:lnTo>
                <a:lnTo>
                  <a:pt x="87574" y="74690"/>
                </a:lnTo>
                <a:lnTo>
                  <a:pt x="174984" y="104208"/>
                </a:lnTo>
                <a:lnTo>
                  <a:pt x="170418" y="154762"/>
                </a:lnTo>
                <a:lnTo>
                  <a:pt x="198957" y="167646"/>
                </a:lnTo>
                <a:lnTo>
                  <a:pt x="213634" y="79257"/>
                </a:lnTo>
                <a:lnTo>
                  <a:pt x="128017" y="56262"/>
                </a:lnTo>
                <a:lnTo>
                  <a:pt x="178735" y="34084"/>
                </a:lnTo>
                <a:lnTo>
                  <a:pt x="259786" y="49739"/>
                </a:lnTo>
                <a:lnTo>
                  <a:pt x="248696" y="98663"/>
                </a:lnTo>
                <a:lnTo>
                  <a:pt x="269897" y="104208"/>
                </a:lnTo>
                <a:lnTo>
                  <a:pt x="290118" y="30496"/>
                </a:lnTo>
                <a:lnTo>
                  <a:pt x="214613" y="1745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35831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CBB7A2-9731-4FDD-BB80-56E820AB9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CBB7A2-9731-4FDD-BB80-56E820AB9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13">
            <a:extLst>
              <a:ext uri="{FF2B5EF4-FFF2-40B4-BE49-F238E27FC236}">
                <a16:creationId xmlns:a16="http://schemas.microsoft.com/office/drawing/2014/main" id="{65A54E2A-2DC3-435D-8E51-FBB84F43AB39}"/>
              </a:ext>
            </a:extLst>
          </p:cNvPr>
          <p:cNvSpPr>
            <a:spLocks/>
          </p:cNvSpPr>
          <p:nvPr userDrawn="1"/>
        </p:nvSpPr>
        <p:spPr bwMode="auto">
          <a:xfrm>
            <a:off x="10525904" y="6253810"/>
            <a:ext cx="1675621" cy="604194"/>
          </a:xfrm>
          <a:custGeom>
            <a:avLst/>
            <a:gdLst>
              <a:gd name="T0" fmla="*/ 0 w 3176"/>
              <a:gd name="T1" fmla="*/ 1121 h 1121"/>
              <a:gd name="T2" fmla="*/ 821 w 3176"/>
              <a:gd name="T3" fmla="*/ 0 h 1121"/>
              <a:gd name="T4" fmla="*/ 3176 w 3176"/>
              <a:gd name="T5" fmla="*/ 0 h 1121"/>
              <a:gd name="T6" fmla="*/ 3176 w 3176"/>
              <a:gd name="T7" fmla="*/ 1121 h 1121"/>
              <a:gd name="T8" fmla="*/ 0 w 3176"/>
              <a:gd name="T9" fmla="*/ 1121 h 1121"/>
              <a:gd name="connsiteX0" fmla="*/ 0 w 10000"/>
              <a:gd name="connsiteY0" fmla="*/ 10040 h 10040"/>
              <a:gd name="connsiteX1" fmla="*/ 2292 w 10000"/>
              <a:gd name="connsiteY1" fmla="*/ 0 h 10040"/>
              <a:gd name="connsiteX2" fmla="*/ 10000 w 10000"/>
              <a:gd name="connsiteY2" fmla="*/ 40 h 10040"/>
              <a:gd name="connsiteX3" fmla="*/ 10000 w 10000"/>
              <a:gd name="connsiteY3" fmla="*/ 10040 h 10040"/>
              <a:gd name="connsiteX4" fmla="*/ 0 w 10000"/>
              <a:gd name="connsiteY4" fmla="*/ 1004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40">
                <a:moveTo>
                  <a:pt x="0" y="10040"/>
                </a:moveTo>
                <a:lnTo>
                  <a:pt x="2292" y="0"/>
                </a:lnTo>
                <a:lnTo>
                  <a:pt x="10000" y="40"/>
                </a:lnTo>
                <a:lnTo>
                  <a:pt x="10000" y="10040"/>
                </a:lnTo>
                <a:lnTo>
                  <a:pt x="0" y="10040"/>
                </a:lnTo>
                <a:close/>
              </a:path>
            </a:pathLst>
          </a:custGeom>
          <a:solidFill>
            <a:srgbClr val="EA5B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 dirty="0"/>
          </a:p>
        </p:txBody>
      </p:sp>
      <p:sp>
        <p:nvSpPr>
          <p:cNvPr id="15" name="Rechthoek 6">
            <a:extLst>
              <a:ext uri="{FF2B5EF4-FFF2-40B4-BE49-F238E27FC236}">
                <a16:creationId xmlns:a16="http://schemas.microsoft.com/office/drawing/2014/main" id="{C9CB0CF1-9C77-4A6D-AB1E-8AB6C1B6E2EC}"/>
              </a:ext>
            </a:extLst>
          </p:cNvPr>
          <p:cNvSpPr/>
          <p:nvPr userDrawn="1"/>
        </p:nvSpPr>
        <p:spPr>
          <a:xfrm>
            <a:off x="11468969" y="6418608"/>
            <a:ext cx="39626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GB" sz="9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F2F30DB-76D5-46A6-BD2A-BEF3A18EE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9" y="692606"/>
            <a:ext cx="9600404" cy="601788"/>
          </a:xfrm>
          <a:prstGeom prst="rect">
            <a:avLst/>
          </a:prstGeom>
        </p:spPr>
        <p:txBody>
          <a:bodyPr vert="horz" lIns="0" tIns="46800"/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E2498A50-28C7-4D9F-BB28-DE16E6C5A4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688" y="1243013"/>
            <a:ext cx="9598022" cy="5010943"/>
          </a:xfrm>
          <a:prstGeom prst="rect">
            <a:avLst/>
          </a:prstGeom>
        </p:spPr>
        <p:txBody>
          <a:bodyPr lIns="0"/>
          <a:lstStyle>
            <a:lvl1pPr marL="171450" indent="-171450" rtl="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449263" indent="-171450" rtl="0"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̶"/>
              <a:defRPr sz="1400" b="0">
                <a:solidFill>
                  <a:schemeClr val="tx1"/>
                </a:solidFill>
              </a:defRPr>
            </a:lvl2pPr>
            <a:lvl3pPr marL="630238" indent="-171450" rtl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3pPr>
            <a:lvl4pPr marL="896938" indent="-171450" rtl="0"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̶"/>
              <a:defRPr sz="1200" b="0">
                <a:solidFill>
                  <a:schemeClr val="tx1"/>
                </a:solidFill>
              </a:defRPr>
            </a:lvl4pPr>
            <a:lvl5pPr marL="1077913" indent="-171450" rtl="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3754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pos="6631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orient="horz" pos="4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5CF6DA-E7D7-4E18-9862-DBC8881EE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5CF6DA-E7D7-4E18-9862-DBC8881EE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jdelijke aanduiding voor afbeelding 44">
            <a:extLst>
              <a:ext uri="{FF2B5EF4-FFF2-40B4-BE49-F238E27FC236}">
                <a16:creationId xmlns:a16="http://schemas.microsoft.com/office/drawing/2014/main" id="{EE874A20-F490-4D8C-B40B-B279CEF7CFE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34738 w 12192000"/>
              <a:gd name="connsiteY0" fmla="*/ 660400 h 6858000"/>
              <a:gd name="connsiteX1" fmla="*/ 11234738 w 12192000"/>
              <a:gd name="connsiteY1" fmla="*/ 702054 h 6858000"/>
              <a:gd name="connsiteX2" fmla="*/ 11217593 w 12192000"/>
              <a:gd name="connsiteY2" fmla="*/ 706438 h 6858000"/>
              <a:gd name="connsiteX3" fmla="*/ 11191875 w 12192000"/>
              <a:gd name="connsiteY3" fmla="*/ 684515 h 6858000"/>
              <a:gd name="connsiteX4" fmla="*/ 11234738 w 12192000"/>
              <a:gd name="connsiteY4" fmla="*/ 660400 h 6858000"/>
              <a:gd name="connsiteX5" fmla="*/ 11038328 w 12192000"/>
              <a:gd name="connsiteY5" fmla="*/ 609687 h 6858000"/>
              <a:gd name="connsiteX6" fmla="*/ 11069638 w 12192000"/>
              <a:gd name="connsiteY6" fmla="*/ 658327 h 6858000"/>
              <a:gd name="connsiteX7" fmla="*/ 11028164 w 12192000"/>
              <a:gd name="connsiteY7" fmla="*/ 706794 h 6858000"/>
              <a:gd name="connsiteX8" fmla="*/ 11017250 w 12192000"/>
              <a:gd name="connsiteY8" fmla="*/ 704591 h 6858000"/>
              <a:gd name="connsiteX9" fmla="*/ 11017250 w 12192000"/>
              <a:gd name="connsiteY9" fmla="*/ 612062 h 6858000"/>
              <a:gd name="connsiteX10" fmla="*/ 11032530 w 12192000"/>
              <a:gd name="connsiteY10" fmla="*/ 609859 h 6858000"/>
              <a:gd name="connsiteX11" fmla="*/ 11038328 w 12192000"/>
              <a:gd name="connsiteY11" fmla="*/ 609687 h 6858000"/>
              <a:gd name="connsiteX12" fmla="*/ 11226205 w 12192000"/>
              <a:gd name="connsiteY12" fmla="*/ 574675 h 6858000"/>
              <a:gd name="connsiteX13" fmla="*/ 11158538 w 12192000"/>
              <a:gd name="connsiteY13" fmla="*/ 585723 h 6858000"/>
              <a:gd name="connsiteX14" fmla="*/ 11158538 w 12192000"/>
              <a:gd name="connsiteY14" fmla="*/ 610029 h 6858000"/>
              <a:gd name="connsiteX15" fmla="*/ 11204377 w 12192000"/>
              <a:gd name="connsiteY15" fmla="*/ 605610 h 6858000"/>
              <a:gd name="connsiteX16" fmla="*/ 11234936 w 12192000"/>
              <a:gd name="connsiteY16" fmla="*/ 621077 h 6858000"/>
              <a:gd name="connsiteX17" fmla="*/ 11234936 w 12192000"/>
              <a:gd name="connsiteY17" fmla="*/ 638755 h 6858000"/>
              <a:gd name="connsiteX18" fmla="*/ 11145441 w 12192000"/>
              <a:gd name="connsiteY18" fmla="*/ 689576 h 6858000"/>
              <a:gd name="connsiteX19" fmla="*/ 11193462 w 12192000"/>
              <a:gd name="connsiteY19" fmla="*/ 738188 h 6858000"/>
              <a:gd name="connsiteX20" fmla="*/ 11237119 w 12192000"/>
              <a:gd name="connsiteY20" fmla="*/ 724930 h 6858000"/>
              <a:gd name="connsiteX21" fmla="*/ 11237119 w 12192000"/>
              <a:gd name="connsiteY21" fmla="*/ 735978 h 6858000"/>
              <a:gd name="connsiteX22" fmla="*/ 11280775 w 12192000"/>
              <a:gd name="connsiteY22" fmla="*/ 735978 h 6858000"/>
              <a:gd name="connsiteX23" fmla="*/ 11280775 w 12192000"/>
              <a:gd name="connsiteY23" fmla="*/ 629916 h 6858000"/>
              <a:gd name="connsiteX24" fmla="*/ 11226205 w 12192000"/>
              <a:gd name="connsiteY24" fmla="*/ 574675 h 6858000"/>
              <a:gd name="connsiteX25" fmla="*/ 11418873 w 12192000"/>
              <a:gd name="connsiteY25" fmla="*/ 573088 h 6858000"/>
              <a:gd name="connsiteX26" fmla="*/ 11368874 w 12192000"/>
              <a:gd name="connsiteY26" fmla="*/ 586185 h 6858000"/>
              <a:gd name="connsiteX27" fmla="*/ 11368874 w 12192000"/>
              <a:gd name="connsiteY27" fmla="*/ 575271 h 6858000"/>
              <a:gd name="connsiteX28" fmla="*/ 11318875 w 12192000"/>
              <a:gd name="connsiteY28" fmla="*/ 575271 h 6858000"/>
              <a:gd name="connsiteX29" fmla="*/ 11318875 w 12192000"/>
              <a:gd name="connsiteY29" fmla="*/ 730250 h 6858000"/>
              <a:gd name="connsiteX30" fmla="*/ 11368874 w 12192000"/>
              <a:gd name="connsiteY30" fmla="*/ 730250 h 6858000"/>
              <a:gd name="connsiteX31" fmla="*/ 11368874 w 12192000"/>
              <a:gd name="connsiteY31" fmla="*/ 610196 h 6858000"/>
              <a:gd name="connsiteX32" fmla="*/ 11390613 w 12192000"/>
              <a:gd name="connsiteY32" fmla="*/ 608013 h 6858000"/>
              <a:gd name="connsiteX33" fmla="*/ 11414525 w 12192000"/>
              <a:gd name="connsiteY33" fmla="*/ 623293 h 6858000"/>
              <a:gd name="connsiteX34" fmla="*/ 11414525 w 12192000"/>
              <a:gd name="connsiteY34" fmla="*/ 730250 h 6858000"/>
              <a:gd name="connsiteX35" fmla="*/ 11464525 w 12192000"/>
              <a:gd name="connsiteY35" fmla="*/ 730250 h 6858000"/>
              <a:gd name="connsiteX36" fmla="*/ 11464525 w 12192000"/>
              <a:gd name="connsiteY36" fmla="*/ 621110 h 6858000"/>
              <a:gd name="connsiteX37" fmla="*/ 11462351 w 12192000"/>
              <a:gd name="connsiteY37" fmla="*/ 610196 h 6858000"/>
              <a:gd name="connsiteX38" fmla="*/ 11486263 w 12192000"/>
              <a:gd name="connsiteY38" fmla="*/ 608013 h 6858000"/>
              <a:gd name="connsiteX39" fmla="*/ 11510176 w 12192000"/>
              <a:gd name="connsiteY39" fmla="*/ 623293 h 6858000"/>
              <a:gd name="connsiteX40" fmla="*/ 11510176 w 12192000"/>
              <a:gd name="connsiteY40" fmla="*/ 730250 h 6858000"/>
              <a:gd name="connsiteX41" fmla="*/ 11560175 w 12192000"/>
              <a:gd name="connsiteY41" fmla="*/ 730250 h 6858000"/>
              <a:gd name="connsiteX42" fmla="*/ 11560175 w 12192000"/>
              <a:gd name="connsiteY42" fmla="*/ 621110 h 6858000"/>
              <a:gd name="connsiteX43" fmla="*/ 11514524 w 12192000"/>
              <a:gd name="connsiteY43" fmla="*/ 573088 h 6858000"/>
              <a:gd name="connsiteX44" fmla="*/ 11451481 w 12192000"/>
              <a:gd name="connsiteY44" fmla="*/ 586185 h 6858000"/>
              <a:gd name="connsiteX45" fmla="*/ 11418873 w 12192000"/>
              <a:gd name="connsiteY45" fmla="*/ 573088 h 6858000"/>
              <a:gd name="connsiteX46" fmla="*/ 10966450 w 12192000"/>
              <a:gd name="connsiteY46" fmla="*/ 500063 h 6858000"/>
              <a:gd name="connsiteX47" fmla="*/ 10966450 w 12192000"/>
              <a:gd name="connsiteY47" fmla="*/ 727164 h 6858000"/>
              <a:gd name="connsiteX48" fmla="*/ 11030245 w 12192000"/>
              <a:gd name="connsiteY48" fmla="*/ 738188 h 6858000"/>
              <a:gd name="connsiteX49" fmla="*/ 11120438 w 12192000"/>
              <a:gd name="connsiteY49" fmla="*/ 649994 h 6858000"/>
              <a:gd name="connsiteX50" fmla="*/ 11058843 w 12192000"/>
              <a:gd name="connsiteY50" fmla="*/ 575028 h 6858000"/>
              <a:gd name="connsiteX51" fmla="*/ 11017046 w 12192000"/>
              <a:gd name="connsiteY51" fmla="*/ 588258 h 6858000"/>
              <a:gd name="connsiteX52" fmla="*/ 11017046 w 12192000"/>
              <a:gd name="connsiteY52" fmla="*/ 500063 h 6858000"/>
              <a:gd name="connsiteX53" fmla="*/ 10966450 w 12192000"/>
              <a:gd name="connsiteY53" fmla="*/ 500063 h 6858000"/>
              <a:gd name="connsiteX54" fmla="*/ 10783888 w 12192000"/>
              <a:gd name="connsiteY54" fmla="*/ 496888 h 6858000"/>
              <a:gd name="connsiteX55" fmla="*/ 10742612 w 12192000"/>
              <a:gd name="connsiteY55" fmla="*/ 515938 h 6858000"/>
              <a:gd name="connsiteX56" fmla="*/ 10820400 w 12192000"/>
              <a:gd name="connsiteY56" fmla="*/ 530226 h 6858000"/>
              <a:gd name="connsiteX57" fmla="*/ 10799762 w 12192000"/>
              <a:gd name="connsiteY57" fmla="*/ 603250 h 6858000"/>
              <a:gd name="connsiteX58" fmla="*/ 10779125 w 12192000"/>
              <a:gd name="connsiteY58" fmla="*/ 596900 h 6858000"/>
              <a:gd name="connsiteX59" fmla="*/ 10790238 w 12192000"/>
              <a:gd name="connsiteY59" fmla="*/ 549276 h 6858000"/>
              <a:gd name="connsiteX60" fmla="*/ 10707688 w 12192000"/>
              <a:gd name="connsiteY60" fmla="*/ 531813 h 6858000"/>
              <a:gd name="connsiteX61" fmla="*/ 10655300 w 12192000"/>
              <a:gd name="connsiteY61" fmla="*/ 555625 h 6858000"/>
              <a:gd name="connsiteX62" fmla="*/ 10742612 w 12192000"/>
              <a:gd name="connsiteY62" fmla="*/ 579438 h 6858000"/>
              <a:gd name="connsiteX63" fmla="*/ 10726738 w 12192000"/>
              <a:gd name="connsiteY63" fmla="*/ 669925 h 6858000"/>
              <a:gd name="connsiteX64" fmla="*/ 10699750 w 12192000"/>
              <a:gd name="connsiteY64" fmla="*/ 655638 h 6858000"/>
              <a:gd name="connsiteX65" fmla="*/ 10702925 w 12192000"/>
              <a:gd name="connsiteY65" fmla="*/ 603250 h 6858000"/>
              <a:gd name="connsiteX66" fmla="*/ 10614025 w 12192000"/>
              <a:gd name="connsiteY66" fmla="*/ 573088 h 6858000"/>
              <a:gd name="connsiteX67" fmla="*/ 10525125 w 12192000"/>
              <a:gd name="connsiteY67" fmla="*/ 612775 h 6858000"/>
              <a:gd name="connsiteX68" fmla="*/ 10617200 w 12192000"/>
              <a:gd name="connsiteY68" fmla="*/ 658813 h 6858000"/>
              <a:gd name="connsiteX69" fmla="*/ 10623550 w 12192000"/>
              <a:gd name="connsiteY69" fmla="*/ 760413 h 6858000"/>
              <a:gd name="connsiteX70" fmla="*/ 10660062 w 12192000"/>
              <a:gd name="connsiteY70" fmla="*/ 730250 h 6858000"/>
              <a:gd name="connsiteX71" fmla="*/ 10761662 w 12192000"/>
              <a:gd name="connsiteY71" fmla="*/ 793750 h 6858000"/>
              <a:gd name="connsiteX72" fmla="*/ 10902950 w 12192000"/>
              <a:gd name="connsiteY72" fmla="*/ 593725 h 6858000"/>
              <a:gd name="connsiteX73" fmla="*/ 10831512 w 12192000"/>
              <a:gd name="connsiteY73" fmla="*/ 576263 h 6858000"/>
              <a:gd name="connsiteX74" fmla="*/ 10853738 w 12192000"/>
              <a:gd name="connsiteY74" fmla="*/ 508001 h 6858000"/>
              <a:gd name="connsiteX75" fmla="*/ 0 w 12192000"/>
              <a:gd name="connsiteY75" fmla="*/ 0 h 6858000"/>
              <a:gd name="connsiteX76" fmla="*/ 12192000 w 12192000"/>
              <a:gd name="connsiteY76" fmla="*/ 0 h 6858000"/>
              <a:gd name="connsiteX77" fmla="*/ 12192000 w 12192000"/>
              <a:gd name="connsiteY77" fmla="*/ 6858000 h 6858000"/>
              <a:gd name="connsiteX78" fmla="*/ 0 w 12192000"/>
              <a:gd name="connsiteY7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12192000" h="6858000">
                <a:moveTo>
                  <a:pt x="11234738" y="660400"/>
                </a:moveTo>
                <a:cubicBezTo>
                  <a:pt x="11234738" y="702054"/>
                  <a:pt x="11234738" y="702054"/>
                  <a:pt x="11234738" y="702054"/>
                </a:cubicBezTo>
                <a:cubicBezTo>
                  <a:pt x="11232595" y="704246"/>
                  <a:pt x="11226165" y="706438"/>
                  <a:pt x="11217593" y="706438"/>
                </a:cubicBezTo>
                <a:cubicBezTo>
                  <a:pt x="11202591" y="706438"/>
                  <a:pt x="11191875" y="699861"/>
                  <a:pt x="11191875" y="684515"/>
                </a:cubicBezTo>
                <a:cubicBezTo>
                  <a:pt x="11191875" y="671362"/>
                  <a:pt x="11198304" y="662592"/>
                  <a:pt x="11234738" y="660400"/>
                </a:cubicBezTo>
                <a:close/>
                <a:moveTo>
                  <a:pt x="11038328" y="609687"/>
                </a:moveTo>
                <a:cubicBezTo>
                  <a:pt x="11048765" y="610410"/>
                  <a:pt x="11069638" y="617019"/>
                  <a:pt x="11069638" y="658327"/>
                </a:cubicBezTo>
                <a:cubicBezTo>
                  <a:pt x="11069638" y="711200"/>
                  <a:pt x="11028164" y="706794"/>
                  <a:pt x="11028164" y="706794"/>
                </a:cubicBezTo>
                <a:cubicBezTo>
                  <a:pt x="11025981" y="706794"/>
                  <a:pt x="11019433" y="706794"/>
                  <a:pt x="11017250" y="704591"/>
                </a:cubicBezTo>
                <a:cubicBezTo>
                  <a:pt x="11017250" y="612062"/>
                  <a:pt x="11017250" y="612062"/>
                  <a:pt x="11017250" y="612062"/>
                </a:cubicBezTo>
                <a:cubicBezTo>
                  <a:pt x="11023798" y="609859"/>
                  <a:pt x="11032530" y="609859"/>
                  <a:pt x="11032530" y="609859"/>
                </a:cubicBezTo>
                <a:cubicBezTo>
                  <a:pt x="11032530" y="609859"/>
                  <a:pt x="11034849" y="609446"/>
                  <a:pt x="11038328" y="609687"/>
                </a:cubicBezTo>
                <a:close/>
                <a:moveTo>
                  <a:pt x="11226205" y="574675"/>
                </a:moveTo>
                <a:cubicBezTo>
                  <a:pt x="11197828" y="574675"/>
                  <a:pt x="11158538" y="585723"/>
                  <a:pt x="11158538" y="585723"/>
                </a:cubicBezTo>
                <a:cubicBezTo>
                  <a:pt x="11158538" y="610029"/>
                  <a:pt x="11158538" y="610029"/>
                  <a:pt x="11158538" y="610029"/>
                </a:cubicBezTo>
                <a:cubicBezTo>
                  <a:pt x="11158538" y="610029"/>
                  <a:pt x="11176000" y="607820"/>
                  <a:pt x="11204377" y="605610"/>
                </a:cubicBezTo>
                <a:cubicBezTo>
                  <a:pt x="11234936" y="603400"/>
                  <a:pt x="11234936" y="621077"/>
                  <a:pt x="11234936" y="621077"/>
                </a:cubicBezTo>
                <a:cubicBezTo>
                  <a:pt x="11234936" y="638755"/>
                  <a:pt x="11234936" y="638755"/>
                  <a:pt x="11234936" y="638755"/>
                </a:cubicBezTo>
                <a:cubicBezTo>
                  <a:pt x="11224022" y="636545"/>
                  <a:pt x="11141075" y="632126"/>
                  <a:pt x="11145441" y="689576"/>
                </a:cubicBezTo>
                <a:cubicBezTo>
                  <a:pt x="11145441" y="689576"/>
                  <a:pt x="11143258" y="738188"/>
                  <a:pt x="11193462" y="738188"/>
                </a:cubicBezTo>
                <a:cubicBezTo>
                  <a:pt x="11193462" y="738188"/>
                  <a:pt x="11215291" y="738188"/>
                  <a:pt x="11237119" y="724930"/>
                </a:cubicBezTo>
                <a:cubicBezTo>
                  <a:pt x="11237119" y="735978"/>
                  <a:pt x="11237119" y="735978"/>
                  <a:pt x="11237119" y="735978"/>
                </a:cubicBezTo>
                <a:cubicBezTo>
                  <a:pt x="11280775" y="735978"/>
                  <a:pt x="11280775" y="735978"/>
                  <a:pt x="11280775" y="735978"/>
                </a:cubicBezTo>
                <a:cubicBezTo>
                  <a:pt x="11280775" y="735978"/>
                  <a:pt x="11280775" y="676318"/>
                  <a:pt x="11280775" y="629916"/>
                </a:cubicBezTo>
                <a:cubicBezTo>
                  <a:pt x="11280775" y="583514"/>
                  <a:pt x="11252398" y="574675"/>
                  <a:pt x="11226205" y="574675"/>
                </a:cubicBezTo>
                <a:close/>
                <a:moveTo>
                  <a:pt x="11418873" y="573088"/>
                </a:moveTo>
                <a:cubicBezTo>
                  <a:pt x="11401482" y="573088"/>
                  <a:pt x="11377570" y="581819"/>
                  <a:pt x="11368874" y="586185"/>
                </a:cubicBezTo>
                <a:cubicBezTo>
                  <a:pt x="11368874" y="575271"/>
                  <a:pt x="11368874" y="575271"/>
                  <a:pt x="11368874" y="575271"/>
                </a:cubicBezTo>
                <a:cubicBezTo>
                  <a:pt x="11318875" y="575271"/>
                  <a:pt x="11318875" y="575271"/>
                  <a:pt x="11318875" y="575271"/>
                </a:cubicBezTo>
                <a:cubicBezTo>
                  <a:pt x="11318875" y="730250"/>
                  <a:pt x="11318875" y="730250"/>
                  <a:pt x="11318875" y="730250"/>
                </a:cubicBezTo>
                <a:cubicBezTo>
                  <a:pt x="11368874" y="730250"/>
                  <a:pt x="11368874" y="730250"/>
                  <a:pt x="11368874" y="730250"/>
                </a:cubicBezTo>
                <a:cubicBezTo>
                  <a:pt x="11368874" y="610196"/>
                  <a:pt x="11368874" y="610196"/>
                  <a:pt x="11368874" y="610196"/>
                </a:cubicBezTo>
                <a:cubicBezTo>
                  <a:pt x="11375396" y="608013"/>
                  <a:pt x="11390613" y="608013"/>
                  <a:pt x="11390613" y="608013"/>
                </a:cubicBezTo>
                <a:cubicBezTo>
                  <a:pt x="11416699" y="608013"/>
                  <a:pt x="11414525" y="623293"/>
                  <a:pt x="11414525" y="623293"/>
                </a:cubicBezTo>
                <a:cubicBezTo>
                  <a:pt x="11414525" y="730250"/>
                  <a:pt x="11414525" y="730250"/>
                  <a:pt x="11414525" y="730250"/>
                </a:cubicBezTo>
                <a:cubicBezTo>
                  <a:pt x="11464525" y="730250"/>
                  <a:pt x="11464525" y="730250"/>
                  <a:pt x="11464525" y="730250"/>
                </a:cubicBezTo>
                <a:cubicBezTo>
                  <a:pt x="11464525" y="730250"/>
                  <a:pt x="11464525" y="653852"/>
                  <a:pt x="11464525" y="621110"/>
                </a:cubicBezTo>
                <a:cubicBezTo>
                  <a:pt x="11464525" y="616744"/>
                  <a:pt x="11464525" y="612379"/>
                  <a:pt x="11462351" y="610196"/>
                </a:cubicBezTo>
                <a:cubicBezTo>
                  <a:pt x="11473220" y="608013"/>
                  <a:pt x="11486263" y="608013"/>
                  <a:pt x="11486263" y="608013"/>
                </a:cubicBezTo>
                <a:cubicBezTo>
                  <a:pt x="11512350" y="608013"/>
                  <a:pt x="11510176" y="623293"/>
                  <a:pt x="11510176" y="623293"/>
                </a:cubicBezTo>
                <a:cubicBezTo>
                  <a:pt x="11510176" y="730250"/>
                  <a:pt x="11510176" y="730250"/>
                  <a:pt x="11510176" y="730250"/>
                </a:cubicBezTo>
                <a:cubicBezTo>
                  <a:pt x="11560175" y="730250"/>
                  <a:pt x="11560175" y="730250"/>
                  <a:pt x="11560175" y="730250"/>
                </a:cubicBezTo>
                <a:cubicBezTo>
                  <a:pt x="11560175" y="730250"/>
                  <a:pt x="11560175" y="653852"/>
                  <a:pt x="11560175" y="621110"/>
                </a:cubicBezTo>
                <a:cubicBezTo>
                  <a:pt x="11560175" y="586185"/>
                  <a:pt x="11536262" y="573088"/>
                  <a:pt x="11514524" y="573088"/>
                </a:cubicBezTo>
                <a:cubicBezTo>
                  <a:pt x="11486263" y="573088"/>
                  <a:pt x="11458003" y="584002"/>
                  <a:pt x="11451481" y="586185"/>
                </a:cubicBezTo>
                <a:cubicBezTo>
                  <a:pt x="11442786" y="577454"/>
                  <a:pt x="11429743" y="573088"/>
                  <a:pt x="11418873" y="573088"/>
                </a:cubicBezTo>
                <a:close/>
                <a:moveTo>
                  <a:pt x="10966450" y="500063"/>
                </a:moveTo>
                <a:cubicBezTo>
                  <a:pt x="10966450" y="727164"/>
                  <a:pt x="10966450" y="727164"/>
                  <a:pt x="10966450" y="727164"/>
                </a:cubicBezTo>
                <a:cubicBezTo>
                  <a:pt x="10966450" y="727164"/>
                  <a:pt x="11001647" y="738188"/>
                  <a:pt x="11030245" y="738188"/>
                </a:cubicBezTo>
                <a:cubicBezTo>
                  <a:pt x="11058843" y="738188"/>
                  <a:pt x="11120438" y="724959"/>
                  <a:pt x="11120438" y="649994"/>
                </a:cubicBezTo>
                <a:cubicBezTo>
                  <a:pt x="11120438" y="575028"/>
                  <a:pt x="11061043" y="575028"/>
                  <a:pt x="11058843" y="575028"/>
                </a:cubicBezTo>
                <a:cubicBezTo>
                  <a:pt x="11056643" y="575028"/>
                  <a:pt x="11041244" y="575028"/>
                  <a:pt x="11017046" y="588258"/>
                </a:cubicBezTo>
                <a:cubicBezTo>
                  <a:pt x="11017046" y="500063"/>
                  <a:pt x="11017046" y="500063"/>
                  <a:pt x="11017046" y="500063"/>
                </a:cubicBezTo>
                <a:cubicBezTo>
                  <a:pt x="10966450" y="500063"/>
                  <a:pt x="10966450" y="500063"/>
                  <a:pt x="10966450" y="500063"/>
                </a:cubicBezTo>
                <a:close/>
                <a:moveTo>
                  <a:pt x="10783888" y="496888"/>
                </a:moveTo>
                <a:lnTo>
                  <a:pt x="10742612" y="515938"/>
                </a:lnTo>
                <a:lnTo>
                  <a:pt x="10820400" y="530226"/>
                </a:lnTo>
                <a:lnTo>
                  <a:pt x="10799762" y="603250"/>
                </a:lnTo>
                <a:lnTo>
                  <a:pt x="10779125" y="596900"/>
                </a:lnTo>
                <a:lnTo>
                  <a:pt x="10790238" y="549276"/>
                </a:lnTo>
                <a:lnTo>
                  <a:pt x="10707688" y="531813"/>
                </a:lnTo>
                <a:lnTo>
                  <a:pt x="10655300" y="555625"/>
                </a:lnTo>
                <a:lnTo>
                  <a:pt x="10742612" y="579438"/>
                </a:lnTo>
                <a:lnTo>
                  <a:pt x="10726738" y="669925"/>
                </a:lnTo>
                <a:lnTo>
                  <a:pt x="10699750" y="655638"/>
                </a:lnTo>
                <a:lnTo>
                  <a:pt x="10702925" y="603250"/>
                </a:lnTo>
                <a:lnTo>
                  <a:pt x="10614025" y="573088"/>
                </a:lnTo>
                <a:lnTo>
                  <a:pt x="10525125" y="612775"/>
                </a:lnTo>
                <a:lnTo>
                  <a:pt x="10617200" y="658813"/>
                </a:lnTo>
                <a:lnTo>
                  <a:pt x="10623550" y="760413"/>
                </a:lnTo>
                <a:lnTo>
                  <a:pt x="10660062" y="730250"/>
                </a:lnTo>
                <a:lnTo>
                  <a:pt x="10761662" y="793750"/>
                </a:lnTo>
                <a:lnTo>
                  <a:pt x="10902950" y="593725"/>
                </a:lnTo>
                <a:lnTo>
                  <a:pt x="10831512" y="576263"/>
                </a:lnTo>
                <a:lnTo>
                  <a:pt x="10853738" y="5080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171450" marR="0" indent="-17145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400" b="0">
                <a:solidFill>
                  <a:schemeClr val="tx1"/>
                </a:solidFill>
              </a:defRPr>
            </a:lvl1pPr>
          </a:lstStyle>
          <a:p>
            <a:pPr marL="171450" lvl="0" indent="-171450" algn="ctr"/>
            <a:r>
              <a:rPr lang="en-GB" noProof="0" dirty="0"/>
              <a:t>Click on the icon to insert an image
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52BDF13A-D9A7-4A1F-BFDC-024C545B2E94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515600" y="493713"/>
            <a:ext cx="1047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BCE51412-F334-44F2-AAC3-AD684AF87F26}"/>
              </a:ext>
            </a:extLst>
          </p:cNvPr>
          <p:cNvSpPr/>
          <p:nvPr userDrawn="1"/>
        </p:nvSpPr>
        <p:spPr>
          <a:xfrm>
            <a:off x="7377811" y="0"/>
            <a:ext cx="4814189" cy="6867524"/>
          </a:xfrm>
          <a:custGeom>
            <a:avLst/>
            <a:gdLst>
              <a:gd name="connsiteX0" fmla="*/ 3855339 w 4814189"/>
              <a:gd name="connsiteY0" fmla="*/ 657226 h 6867524"/>
              <a:gd name="connsiteX1" fmla="*/ 3855339 w 4814189"/>
              <a:gd name="connsiteY1" fmla="*/ 700315 h 6867524"/>
              <a:gd name="connsiteX2" fmla="*/ 3837559 w 4814189"/>
              <a:gd name="connsiteY2" fmla="*/ 704851 h 6867524"/>
              <a:gd name="connsiteX3" fmla="*/ 3810889 w 4814189"/>
              <a:gd name="connsiteY3" fmla="*/ 682173 h 6867524"/>
              <a:gd name="connsiteX4" fmla="*/ 3855339 w 4814189"/>
              <a:gd name="connsiteY4" fmla="*/ 657226 h 6867524"/>
              <a:gd name="connsiteX5" fmla="*/ 3656394 w 4814189"/>
              <a:gd name="connsiteY5" fmla="*/ 606608 h 6867524"/>
              <a:gd name="connsiteX6" fmla="*/ 3688652 w 4814189"/>
              <a:gd name="connsiteY6" fmla="*/ 655963 h 6867524"/>
              <a:gd name="connsiteX7" fmla="*/ 3645922 w 4814189"/>
              <a:gd name="connsiteY7" fmla="*/ 705143 h 6867524"/>
              <a:gd name="connsiteX8" fmla="*/ 3634677 w 4814189"/>
              <a:gd name="connsiteY8" fmla="*/ 702908 h 6867524"/>
              <a:gd name="connsiteX9" fmla="*/ 3634677 w 4814189"/>
              <a:gd name="connsiteY9" fmla="*/ 609018 h 6867524"/>
              <a:gd name="connsiteX10" fmla="*/ 3650420 w 4814189"/>
              <a:gd name="connsiteY10" fmla="*/ 606783 h 6867524"/>
              <a:gd name="connsiteX11" fmla="*/ 3656394 w 4814189"/>
              <a:gd name="connsiteY11" fmla="*/ 606608 h 6867524"/>
              <a:gd name="connsiteX12" fmla="*/ 3848394 w 4814189"/>
              <a:gd name="connsiteY12" fmla="*/ 574675 h 6867524"/>
              <a:gd name="connsiteX13" fmla="*/ 3780727 w 4814189"/>
              <a:gd name="connsiteY13" fmla="*/ 585723 h 6867524"/>
              <a:gd name="connsiteX14" fmla="*/ 3780727 w 4814189"/>
              <a:gd name="connsiteY14" fmla="*/ 610029 h 6867524"/>
              <a:gd name="connsiteX15" fmla="*/ 3826566 w 4814189"/>
              <a:gd name="connsiteY15" fmla="*/ 605610 h 6867524"/>
              <a:gd name="connsiteX16" fmla="*/ 3857125 w 4814189"/>
              <a:gd name="connsiteY16" fmla="*/ 621077 h 6867524"/>
              <a:gd name="connsiteX17" fmla="*/ 3857125 w 4814189"/>
              <a:gd name="connsiteY17" fmla="*/ 638755 h 6867524"/>
              <a:gd name="connsiteX18" fmla="*/ 3767630 w 4814189"/>
              <a:gd name="connsiteY18" fmla="*/ 689576 h 6867524"/>
              <a:gd name="connsiteX19" fmla="*/ 3815651 w 4814189"/>
              <a:gd name="connsiteY19" fmla="*/ 738188 h 6867524"/>
              <a:gd name="connsiteX20" fmla="*/ 3859308 w 4814189"/>
              <a:gd name="connsiteY20" fmla="*/ 724930 h 6867524"/>
              <a:gd name="connsiteX21" fmla="*/ 3859308 w 4814189"/>
              <a:gd name="connsiteY21" fmla="*/ 735978 h 6867524"/>
              <a:gd name="connsiteX22" fmla="*/ 3902964 w 4814189"/>
              <a:gd name="connsiteY22" fmla="*/ 735978 h 6867524"/>
              <a:gd name="connsiteX23" fmla="*/ 3902964 w 4814189"/>
              <a:gd name="connsiteY23" fmla="*/ 629916 h 6867524"/>
              <a:gd name="connsiteX24" fmla="*/ 3848394 w 4814189"/>
              <a:gd name="connsiteY24" fmla="*/ 574675 h 6867524"/>
              <a:gd name="connsiteX25" fmla="*/ 4041062 w 4814189"/>
              <a:gd name="connsiteY25" fmla="*/ 573088 h 6867524"/>
              <a:gd name="connsiteX26" fmla="*/ 3991063 w 4814189"/>
              <a:gd name="connsiteY26" fmla="*/ 586185 h 6867524"/>
              <a:gd name="connsiteX27" fmla="*/ 3991063 w 4814189"/>
              <a:gd name="connsiteY27" fmla="*/ 575271 h 6867524"/>
              <a:gd name="connsiteX28" fmla="*/ 3941064 w 4814189"/>
              <a:gd name="connsiteY28" fmla="*/ 575271 h 6867524"/>
              <a:gd name="connsiteX29" fmla="*/ 3941064 w 4814189"/>
              <a:gd name="connsiteY29" fmla="*/ 730250 h 6867524"/>
              <a:gd name="connsiteX30" fmla="*/ 3991063 w 4814189"/>
              <a:gd name="connsiteY30" fmla="*/ 730250 h 6867524"/>
              <a:gd name="connsiteX31" fmla="*/ 3991063 w 4814189"/>
              <a:gd name="connsiteY31" fmla="*/ 610196 h 6867524"/>
              <a:gd name="connsiteX32" fmla="*/ 4012802 w 4814189"/>
              <a:gd name="connsiteY32" fmla="*/ 608013 h 6867524"/>
              <a:gd name="connsiteX33" fmla="*/ 4036714 w 4814189"/>
              <a:gd name="connsiteY33" fmla="*/ 623293 h 6867524"/>
              <a:gd name="connsiteX34" fmla="*/ 4036714 w 4814189"/>
              <a:gd name="connsiteY34" fmla="*/ 730250 h 6867524"/>
              <a:gd name="connsiteX35" fmla="*/ 4086714 w 4814189"/>
              <a:gd name="connsiteY35" fmla="*/ 730250 h 6867524"/>
              <a:gd name="connsiteX36" fmla="*/ 4086714 w 4814189"/>
              <a:gd name="connsiteY36" fmla="*/ 621110 h 6867524"/>
              <a:gd name="connsiteX37" fmla="*/ 4084540 w 4814189"/>
              <a:gd name="connsiteY37" fmla="*/ 610196 h 6867524"/>
              <a:gd name="connsiteX38" fmla="*/ 4108452 w 4814189"/>
              <a:gd name="connsiteY38" fmla="*/ 608013 h 6867524"/>
              <a:gd name="connsiteX39" fmla="*/ 4132365 w 4814189"/>
              <a:gd name="connsiteY39" fmla="*/ 623293 h 6867524"/>
              <a:gd name="connsiteX40" fmla="*/ 4132365 w 4814189"/>
              <a:gd name="connsiteY40" fmla="*/ 730250 h 6867524"/>
              <a:gd name="connsiteX41" fmla="*/ 4182364 w 4814189"/>
              <a:gd name="connsiteY41" fmla="*/ 730250 h 6867524"/>
              <a:gd name="connsiteX42" fmla="*/ 4182364 w 4814189"/>
              <a:gd name="connsiteY42" fmla="*/ 621110 h 6867524"/>
              <a:gd name="connsiteX43" fmla="*/ 4136713 w 4814189"/>
              <a:gd name="connsiteY43" fmla="*/ 573088 h 6867524"/>
              <a:gd name="connsiteX44" fmla="*/ 4073670 w 4814189"/>
              <a:gd name="connsiteY44" fmla="*/ 586185 h 6867524"/>
              <a:gd name="connsiteX45" fmla="*/ 4041062 w 4814189"/>
              <a:gd name="connsiteY45" fmla="*/ 573088 h 6867524"/>
              <a:gd name="connsiteX46" fmla="*/ 3588639 w 4814189"/>
              <a:gd name="connsiteY46" fmla="*/ 500063 h 6867524"/>
              <a:gd name="connsiteX47" fmla="*/ 3588639 w 4814189"/>
              <a:gd name="connsiteY47" fmla="*/ 727164 h 6867524"/>
              <a:gd name="connsiteX48" fmla="*/ 3652434 w 4814189"/>
              <a:gd name="connsiteY48" fmla="*/ 738188 h 6867524"/>
              <a:gd name="connsiteX49" fmla="*/ 3742627 w 4814189"/>
              <a:gd name="connsiteY49" fmla="*/ 649994 h 6867524"/>
              <a:gd name="connsiteX50" fmla="*/ 3681032 w 4814189"/>
              <a:gd name="connsiteY50" fmla="*/ 575028 h 6867524"/>
              <a:gd name="connsiteX51" fmla="*/ 3639235 w 4814189"/>
              <a:gd name="connsiteY51" fmla="*/ 588258 h 6867524"/>
              <a:gd name="connsiteX52" fmla="*/ 3639235 w 4814189"/>
              <a:gd name="connsiteY52" fmla="*/ 500063 h 6867524"/>
              <a:gd name="connsiteX53" fmla="*/ 3588639 w 4814189"/>
              <a:gd name="connsiteY53" fmla="*/ 500063 h 6867524"/>
              <a:gd name="connsiteX54" fmla="*/ 3927179 w 4814189"/>
              <a:gd name="connsiteY54" fmla="*/ 0 h 6867524"/>
              <a:gd name="connsiteX55" fmla="*/ 4356989 w 4814189"/>
              <a:gd name="connsiteY55" fmla="*/ 1 h 6867524"/>
              <a:gd name="connsiteX56" fmla="*/ 4356989 w 4814189"/>
              <a:gd name="connsiteY56" fmla="*/ 0 h 6867524"/>
              <a:gd name="connsiteX57" fmla="*/ 4814189 w 4814189"/>
              <a:gd name="connsiteY57" fmla="*/ 0 h 6867524"/>
              <a:gd name="connsiteX58" fmla="*/ 4814189 w 4814189"/>
              <a:gd name="connsiteY58" fmla="*/ 6858000 h 6867524"/>
              <a:gd name="connsiteX59" fmla="*/ 4393184 w 4814189"/>
              <a:gd name="connsiteY59" fmla="*/ 6858000 h 6867524"/>
              <a:gd name="connsiteX60" fmla="*/ 4393184 w 4814189"/>
              <a:gd name="connsiteY60" fmla="*/ 6867524 h 6867524"/>
              <a:gd name="connsiteX61" fmla="*/ 1462191 w 4814189"/>
              <a:gd name="connsiteY61" fmla="*/ 6867524 h 6867524"/>
              <a:gd name="connsiteX62" fmla="*/ 0 w 4814189"/>
              <a:gd name="connsiteY62" fmla="*/ 5745131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814189" h="6867524">
                <a:moveTo>
                  <a:pt x="3855339" y="657226"/>
                </a:moveTo>
                <a:cubicBezTo>
                  <a:pt x="3855339" y="700315"/>
                  <a:pt x="3855339" y="700315"/>
                  <a:pt x="3855339" y="700315"/>
                </a:cubicBezTo>
                <a:cubicBezTo>
                  <a:pt x="3853117" y="702583"/>
                  <a:pt x="3846449" y="704851"/>
                  <a:pt x="3837559" y="704851"/>
                </a:cubicBezTo>
                <a:cubicBezTo>
                  <a:pt x="3822001" y="704851"/>
                  <a:pt x="3810889" y="698048"/>
                  <a:pt x="3810889" y="682173"/>
                </a:cubicBezTo>
                <a:cubicBezTo>
                  <a:pt x="3810889" y="668565"/>
                  <a:pt x="3817557" y="659494"/>
                  <a:pt x="3855339" y="657226"/>
                </a:cubicBezTo>
                <a:close/>
                <a:moveTo>
                  <a:pt x="3656394" y="606608"/>
                </a:moveTo>
                <a:cubicBezTo>
                  <a:pt x="3667146" y="607341"/>
                  <a:pt x="3688652" y="614048"/>
                  <a:pt x="3688652" y="655963"/>
                </a:cubicBezTo>
                <a:cubicBezTo>
                  <a:pt x="3688652" y="709614"/>
                  <a:pt x="3645922" y="705143"/>
                  <a:pt x="3645922" y="705143"/>
                </a:cubicBezTo>
                <a:cubicBezTo>
                  <a:pt x="3643673" y="705143"/>
                  <a:pt x="3636926" y="705143"/>
                  <a:pt x="3634677" y="702908"/>
                </a:cubicBezTo>
                <a:cubicBezTo>
                  <a:pt x="3634677" y="609018"/>
                  <a:pt x="3634677" y="609018"/>
                  <a:pt x="3634677" y="609018"/>
                </a:cubicBezTo>
                <a:cubicBezTo>
                  <a:pt x="3641424" y="606783"/>
                  <a:pt x="3650420" y="606783"/>
                  <a:pt x="3650420" y="606783"/>
                </a:cubicBezTo>
                <a:cubicBezTo>
                  <a:pt x="3650420" y="606783"/>
                  <a:pt x="3652809" y="606363"/>
                  <a:pt x="3656394" y="606608"/>
                </a:cubicBezTo>
                <a:close/>
                <a:moveTo>
                  <a:pt x="3848394" y="574675"/>
                </a:moveTo>
                <a:cubicBezTo>
                  <a:pt x="3820017" y="574675"/>
                  <a:pt x="3780727" y="585723"/>
                  <a:pt x="3780727" y="585723"/>
                </a:cubicBezTo>
                <a:cubicBezTo>
                  <a:pt x="3780727" y="610029"/>
                  <a:pt x="3780727" y="610029"/>
                  <a:pt x="3780727" y="610029"/>
                </a:cubicBezTo>
                <a:cubicBezTo>
                  <a:pt x="3780727" y="610029"/>
                  <a:pt x="3798189" y="607820"/>
                  <a:pt x="3826566" y="605610"/>
                </a:cubicBezTo>
                <a:cubicBezTo>
                  <a:pt x="3857125" y="603400"/>
                  <a:pt x="3857125" y="621077"/>
                  <a:pt x="3857125" y="621077"/>
                </a:cubicBezTo>
                <a:cubicBezTo>
                  <a:pt x="3857125" y="638755"/>
                  <a:pt x="3857125" y="638755"/>
                  <a:pt x="3857125" y="638755"/>
                </a:cubicBezTo>
                <a:cubicBezTo>
                  <a:pt x="3846211" y="636545"/>
                  <a:pt x="3763264" y="632126"/>
                  <a:pt x="3767630" y="689576"/>
                </a:cubicBezTo>
                <a:cubicBezTo>
                  <a:pt x="3767630" y="689576"/>
                  <a:pt x="3765447" y="738188"/>
                  <a:pt x="3815651" y="738188"/>
                </a:cubicBezTo>
                <a:cubicBezTo>
                  <a:pt x="3815651" y="738188"/>
                  <a:pt x="3837480" y="738188"/>
                  <a:pt x="3859308" y="724930"/>
                </a:cubicBezTo>
                <a:cubicBezTo>
                  <a:pt x="3859308" y="735978"/>
                  <a:pt x="3859308" y="735978"/>
                  <a:pt x="3859308" y="735978"/>
                </a:cubicBezTo>
                <a:cubicBezTo>
                  <a:pt x="3902964" y="735978"/>
                  <a:pt x="3902964" y="735978"/>
                  <a:pt x="3902964" y="735978"/>
                </a:cubicBezTo>
                <a:cubicBezTo>
                  <a:pt x="3902964" y="735978"/>
                  <a:pt x="3902964" y="676318"/>
                  <a:pt x="3902964" y="629916"/>
                </a:cubicBezTo>
                <a:cubicBezTo>
                  <a:pt x="3902964" y="583514"/>
                  <a:pt x="3874587" y="574675"/>
                  <a:pt x="3848394" y="574675"/>
                </a:cubicBezTo>
                <a:close/>
                <a:moveTo>
                  <a:pt x="4041062" y="573088"/>
                </a:moveTo>
                <a:cubicBezTo>
                  <a:pt x="4023671" y="573088"/>
                  <a:pt x="3999759" y="581819"/>
                  <a:pt x="3991063" y="586185"/>
                </a:cubicBezTo>
                <a:cubicBezTo>
                  <a:pt x="3991063" y="575271"/>
                  <a:pt x="3991063" y="575271"/>
                  <a:pt x="3991063" y="575271"/>
                </a:cubicBezTo>
                <a:cubicBezTo>
                  <a:pt x="3941064" y="575271"/>
                  <a:pt x="3941064" y="575271"/>
                  <a:pt x="3941064" y="575271"/>
                </a:cubicBezTo>
                <a:cubicBezTo>
                  <a:pt x="3941064" y="730250"/>
                  <a:pt x="3941064" y="730250"/>
                  <a:pt x="3941064" y="730250"/>
                </a:cubicBezTo>
                <a:cubicBezTo>
                  <a:pt x="3991063" y="730250"/>
                  <a:pt x="3991063" y="730250"/>
                  <a:pt x="3991063" y="730250"/>
                </a:cubicBezTo>
                <a:cubicBezTo>
                  <a:pt x="3991063" y="610196"/>
                  <a:pt x="3991063" y="610196"/>
                  <a:pt x="3991063" y="610196"/>
                </a:cubicBezTo>
                <a:cubicBezTo>
                  <a:pt x="3997585" y="608013"/>
                  <a:pt x="4012802" y="608013"/>
                  <a:pt x="4012802" y="608013"/>
                </a:cubicBezTo>
                <a:cubicBezTo>
                  <a:pt x="4038888" y="608013"/>
                  <a:pt x="4036714" y="623293"/>
                  <a:pt x="4036714" y="623293"/>
                </a:cubicBezTo>
                <a:cubicBezTo>
                  <a:pt x="4036714" y="730250"/>
                  <a:pt x="4036714" y="730250"/>
                  <a:pt x="4036714" y="730250"/>
                </a:cubicBezTo>
                <a:cubicBezTo>
                  <a:pt x="4086714" y="730250"/>
                  <a:pt x="4086714" y="730250"/>
                  <a:pt x="4086714" y="730250"/>
                </a:cubicBezTo>
                <a:cubicBezTo>
                  <a:pt x="4086714" y="730250"/>
                  <a:pt x="4086714" y="653852"/>
                  <a:pt x="4086714" y="621110"/>
                </a:cubicBezTo>
                <a:cubicBezTo>
                  <a:pt x="4086714" y="616744"/>
                  <a:pt x="4086714" y="612379"/>
                  <a:pt x="4084540" y="610196"/>
                </a:cubicBezTo>
                <a:cubicBezTo>
                  <a:pt x="4095409" y="608013"/>
                  <a:pt x="4108452" y="608013"/>
                  <a:pt x="4108452" y="608013"/>
                </a:cubicBezTo>
                <a:cubicBezTo>
                  <a:pt x="4134539" y="608013"/>
                  <a:pt x="4132365" y="623293"/>
                  <a:pt x="4132365" y="623293"/>
                </a:cubicBezTo>
                <a:cubicBezTo>
                  <a:pt x="4132365" y="730250"/>
                  <a:pt x="4132365" y="730250"/>
                  <a:pt x="4132365" y="730250"/>
                </a:cubicBezTo>
                <a:cubicBezTo>
                  <a:pt x="4182364" y="730250"/>
                  <a:pt x="4182364" y="730250"/>
                  <a:pt x="4182364" y="730250"/>
                </a:cubicBezTo>
                <a:cubicBezTo>
                  <a:pt x="4182364" y="730250"/>
                  <a:pt x="4182364" y="653852"/>
                  <a:pt x="4182364" y="621110"/>
                </a:cubicBezTo>
                <a:cubicBezTo>
                  <a:pt x="4182364" y="586185"/>
                  <a:pt x="4158451" y="573088"/>
                  <a:pt x="4136713" y="573088"/>
                </a:cubicBezTo>
                <a:cubicBezTo>
                  <a:pt x="4108452" y="573088"/>
                  <a:pt x="4080192" y="584002"/>
                  <a:pt x="4073670" y="586185"/>
                </a:cubicBezTo>
                <a:cubicBezTo>
                  <a:pt x="4064975" y="577454"/>
                  <a:pt x="4051932" y="573088"/>
                  <a:pt x="4041062" y="573088"/>
                </a:cubicBezTo>
                <a:close/>
                <a:moveTo>
                  <a:pt x="3588639" y="500063"/>
                </a:moveTo>
                <a:cubicBezTo>
                  <a:pt x="3588639" y="727164"/>
                  <a:pt x="3588639" y="727164"/>
                  <a:pt x="3588639" y="727164"/>
                </a:cubicBezTo>
                <a:cubicBezTo>
                  <a:pt x="3588639" y="727164"/>
                  <a:pt x="3623836" y="738188"/>
                  <a:pt x="3652434" y="738188"/>
                </a:cubicBezTo>
                <a:cubicBezTo>
                  <a:pt x="3681032" y="738188"/>
                  <a:pt x="3742627" y="724959"/>
                  <a:pt x="3742627" y="649994"/>
                </a:cubicBezTo>
                <a:cubicBezTo>
                  <a:pt x="3742627" y="575028"/>
                  <a:pt x="3683232" y="575028"/>
                  <a:pt x="3681032" y="575028"/>
                </a:cubicBezTo>
                <a:cubicBezTo>
                  <a:pt x="3678832" y="575028"/>
                  <a:pt x="3663433" y="575028"/>
                  <a:pt x="3639235" y="588258"/>
                </a:cubicBezTo>
                <a:cubicBezTo>
                  <a:pt x="3639235" y="500063"/>
                  <a:pt x="3639235" y="500063"/>
                  <a:pt x="3639235" y="500063"/>
                </a:cubicBezTo>
                <a:cubicBezTo>
                  <a:pt x="3588639" y="500063"/>
                  <a:pt x="3588639" y="500063"/>
                  <a:pt x="3588639" y="500063"/>
                </a:cubicBezTo>
                <a:close/>
                <a:moveTo>
                  <a:pt x="3927179" y="0"/>
                </a:moveTo>
                <a:lnTo>
                  <a:pt x="4356989" y="1"/>
                </a:lnTo>
                <a:lnTo>
                  <a:pt x="4356989" y="0"/>
                </a:lnTo>
                <a:lnTo>
                  <a:pt x="4814189" y="0"/>
                </a:lnTo>
                <a:lnTo>
                  <a:pt x="4814189" y="6858000"/>
                </a:lnTo>
                <a:lnTo>
                  <a:pt x="4393184" y="6858000"/>
                </a:lnTo>
                <a:lnTo>
                  <a:pt x="4393184" y="6867524"/>
                </a:lnTo>
                <a:lnTo>
                  <a:pt x="1462191" y="6867524"/>
                </a:lnTo>
                <a:lnTo>
                  <a:pt x="0" y="574513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nl-NL" dirty="0">
              <a:solidFill>
                <a:srgbClr val="248D37"/>
              </a:solidFill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90A5E7B-9A96-4742-A663-C4D3029B0DE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14475" y="3629025"/>
            <a:ext cx="9010650" cy="1076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2pPr>
            <a:lvl3pPr marL="180975" indent="-180975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/>
            </a:lvl3pPr>
            <a:lvl4pPr marL="0" indent="0">
              <a:lnSpc>
                <a:spcPct val="100000"/>
              </a:lnSpc>
              <a:spcBef>
                <a:spcPts val="1200"/>
              </a:spcBef>
              <a:buNone/>
              <a:defRPr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spcBef>
                <a:spcPts val="1200"/>
              </a:spcBef>
              <a:buNone/>
              <a:defRPr sz="1200"/>
            </a:lvl5pPr>
          </a:lstStyle>
          <a:p>
            <a:r>
              <a:rPr lang="en-GB" noProof="0" dirty="0"/>
              <a:t>Title presentation</a:t>
            </a:r>
          </a:p>
          <a:p>
            <a:pPr lvl="1"/>
            <a:r>
              <a:rPr lang="en-GB" noProof="0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A46D08-0023-4F07-B56A-C48AE36F031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514475" y="5000625"/>
            <a:ext cx="9010650" cy="7810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r>
              <a:rPr lang="en-GB" noProof="0" dirty="0"/>
              <a:t>Name</a:t>
            </a:r>
          </a:p>
          <a:p>
            <a:r>
              <a:rPr lang="en-GB" noProof="0" dirty="0"/>
              <a:t>Department / operating company</a:t>
            </a:r>
          </a:p>
        </p:txBody>
      </p:sp>
    </p:spTree>
    <p:extLst>
      <p:ext uri="{BB962C8B-B14F-4D97-AF65-F5344CB8AC3E}">
        <p14:creationId xmlns:p14="http://schemas.microsoft.com/office/powerpoint/2010/main" val="414714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9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34242A8-4673-4F98-9C1D-D29F1D11E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34242A8-4673-4F98-9C1D-D29F1D11E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13">
            <a:extLst>
              <a:ext uri="{FF2B5EF4-FFF2-40B4-BE49-F238E27FC236}">
                <a16:creationId xmlns:a16="http://schemas.microsoft.com/office/drawing/2014/main" id="{74B3BFE1-BFBB-431A-8FCE-214226F44873}"/>
              </a:ext>
            </a:extLst>
          </p:cNvPr>
          <p:cNvSpPr>
            <a:spLocks/>
          </p:cNvSpPr>
          <p:nvPr userDrawn="1"/>
        </p:nvSpPr>
        <p:spPr bwMode="auto">
          <a:xfrm>
            <a:off x="10525904" y="6253810"/>
            <a:ext cx="1675621" cy="604194"/>
          </a:xfrm>
          <a:custGeom>
            <a:avLst/>
            <a:gdLst>
              <a:gd name="T0" fmla="*/ 0 w 3176"/>
              <a:gd name="T1" fmla="*/ 1121 h 1121"/>
              <a:gd name="T2" fmla="*/ 821 w 3176"/>
              <a:gd name="T3" fmla="*/ 0 h 1121"/>
              <a:gd name="T4" fmla="*/ 3176 w 3176"/>
              <a:gd name="T5" fmla="*/ 0 h 1121"/>
              <a:gd name="T6" fmla="*/ 3176 w 3176"/>
              <a:gd name="T7" fmla="*/ 1121 h 1121"/>
              <a:gd name="T8" fmla="*/ 0 w 3176"/>
              <a:gd name="T9" fmla="*/ 1121 h 1121"/>
              <a:gd name="connsiteX0" fmla="*/ 0 w 10000"/>
              <a:gd name="connsiteY0" fmla="*/ 10040 h 10040"/>
              <a:gd name="connsiteX1" fmla="*/ 2292 w 10000"/>
              <a:gd name="connsiteY1" fmla="*/ 0 h 10040"/>
              <a:gd name="connsiteX2" fmla="*/ 10000 w 10000"/>
              <a:gd name="connsiteY2" fmla="*/ 40 h 10040"/>
              <a:gd name="connsiteX3" fmla="*/ 10000 w 10000"/>
              <a:gd name="connsiteY3" fmla="*/ 10040 h 10040"/>
              <a:gd name="connsiteX4" fmla="*/ 0 w 10000"/>
              <a:gd name="connsiteY4" fmla="*/ 1004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40">
                <a:moveTo>
                  <a:pt x="0" y="10040"/>
                </a:moveTo>
                <a:lnTo>
                  <a:pt x="2292" y="0"/>
                </a:lnTo>
                <a:lnTo>
                  <a:pt x="10000" y="40"/>
                </a:lnTo>
                <a:lnTo>
                  <a:pt x="10000" y="10040"/>
                </a:lnTo>
                <a:lnTo>
                  <a:pt x="0" y="10040"/>
                </a:lnTo>
                <a:close/>
              </a:path>
            </a:pathLst>
          </a:custGeom>
          <a:solidFill>
            <a:srgbClr val="EA5B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 dirty="0"/>
          </a:p>
        </p:txBody>
      </p:sp>
      <p:sp>
        <p:nvSpPr>
          <p:cNvPr id="15" name="Rechthoek 6">
            <a:extLst>
              <a:ext uri="{FF2B5EF4-FFF2-40B4-BE49-F238E27FC236}">
                <a16:creationId xmlns:a16="http://schemas.microsoft.com/office/drawing/2014/main" id="{C9CB0CF1-9C77-4A6D-AB1E-8AB6C1B6E2EC}"/>
              </a:ext>
            </a:extLst>
          </p:cNvPr>
          <p:cNvSpPr/>
          <p:nvPr userDrawn="1"/>
        </p:nvSpPr>
        <p:spPr>
          <a:xfrm>
            <a:off x="11468969" y="6418608"/>
            <a:ext cx="39626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GB" sz="9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F2F30DB-76D5-46A6-BD2A-BEF3A18EE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691200"/>
            <a:ext cx="9600165" cy="601788"/>
          </a:xfrm>
          <a:prstGeom prst="rect">
            <a:avLst/>
          </a:prstGeom>
        </p:spPr>
        <p:txBody>
          <a:bodyPr vert="horz" lIns="0" tIns="46800" rIns="0"/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0" name="Tijdelijke aanduiding voor inhoud 3">
            <a:extLst>
              <a:ext uri="{FF2B5EF4-FFF2-40B4-BE49-F238E27FC236}">
                <a16:creationId xmlns:a16="http://schemas.microsoft.com/office/drawing/2014/main" id="{D1FF5AB7-60D8-4735-9375-906F4A2BBDB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55688" y="1242000"/>
            <a:ext cx="9470217" cy="4995288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on the icon to insert content
</a:t>
            </a:r>
          </a:p>
        </p:txBody>
      </p:sp>
    </p:spTree>
    <p:extLst>
      <p:ext uri="{BB962C8B-B14F-4D97-AF65-F5344CB8AC3E}">
        <p14:creationId xmlns:p14="http://schemas.microsoft.com/office/powerpoint/2010/main" val="2395271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pos="6631">
          <p15:clr>
            <a:srgbClr val="FBAE40"/>
          </p15:clr>
        </p15:guide>
        <p15:guide id="4" orient="horz" pos="39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0695271-F570-409F-857A-DDA155205D71}"/>
              </a:ext>
            </a:extLst>
          </p:cNvPr>
          <p:cNvSpPr/>
          <p:nvPr userDrawn="1"/>
        </p:nvSpPr>
        <p:spPr>
          <a:xfrm>
            <a:off x="-9528" y="771412"/>
            <a:ext cx="12184856" cy="6095998"/>
          </a:xfrm>
          <a:custGeom>
            <a:avLst/>
            <a:gdLst>
              <a:gd name="connsiteX0" fmla="*/ 0 w 12211050"/>
              <a:gd name="connsiteY0" fmla="*/ 0 h 5286375"/>
              <a:gd name="connsiteX1" fmla="*/ 12211050 w 12211050"/>
              <a:gd name="connsiteY1" fmla="*/ 5286375 h 5286375"/>
              <a:gd name="connsiteX2" fmla="*/ 0 w 12211050"/>
              <a:gd name="connsiteY2" fmla="*/ 5286375 h 5286375"/>
              <a:gd name="connsiteX3" fmla="*/ 0 w 12211050"/>
              <a:gd name="connsiteY3" fmla="*/ 0 h 5286375"/>
              <a:gd name="connsiteX0" fmla="*/ 0 w 12203906"/>
              <a:gd name="connsiteY0" fmla="*/ 0 h 5286375"/>
              <a:gd name="connsiteX1" fmla="*/ 12203906 w 12203906"/>
              <a:gd name="connsiteY1" fmla="*/ 5275227 h 5286375"/>
              <a:gd name="connsiteX2" fmla="*/ 0 w 12203906"/>
              <a:gd name="connsiteY2" fmla="*/ 5286375 h 5286375"/>
              <a:gd name="connsiteX3" fmla="*/ 0 w 12203906"/>
              <a:gd name="connsiteY3" fmla="*/ 0 h 5286375"/>
              <a:gd name="connsiteX0" fmla="*/ 0 w 12203906"/>
              <a:gd name="connsiteY0" fmla="*/ 0 h 5286375"/>
              <a:gd name="connsiteX1" fmla="*/ 12203906 w 12203906"/>
              <a:gd name="connsiteY1" fmla="*/ 5270768 h 5286375"/>
              <a:gd name="connsiteX2" fmla="*/ 0 w 12203906"/>
              <a:gd name="connsiteY2" fmla="*/ 5286375 h 5286375"/>
              <a:gd name="connsiteX3" fmla="*/ 0 w 12203906"/>
              <a:gd name="connsiteY3" fmla="*/ 0 h 5286375"/>
              <a:gd name="connsiteX0" fmla="*/ 0 w 12201525"/>
              <a:gd name="connsiteY0" fmla="*/ 0 h 5286375"/>
              <a:gd name="connsiteX1" fmla="*/ 12201525 w 12201525"/>
              <a:gd name="connsiteY1" fmla="*/ 5277457 h 5286375"/>
              <a:gd name="connsiteX2" fmla="*/ 0 w 12201525"/>
              <a:gd name="connsiteY2" fmla="*/ 5286375 h 5286375"/>
              <a:gd name="connsiteX3" fmla="*/ 0 w 12201525"/>
              <a:gd name="connsiteY3" fmla="*/ 0 h 5286375"/>
              <a:gd name="connsiteX0" fmla="*/ 0 w 12201525"/>
              <a:gd name="connsiteY0" fmla="*/ 0 h 5381237"/>
              <a:gd name="connsiteX1" fmla="*/ 12201525 w 12201525"/>
              <a:gd name="connsiteY1" fmla="*/ 5372319 h 5381237"/>
              <a:gd name="connsiteX2" fmla="*/ 0 w 12201525"/>
              <a:gd name="connsiteY2" fmla="*/ 5381237 h 5381237"/>
              <a:gd name="connsiteX3" fmla="*/ 0 w 12201525"/>
              <a:gd name="connsiteY3" fmla="*/ 0 h 5381237"/>
              <a:gd name="connsiteX0" fmla="*/ 0 w 12201525"/>
              <a:gd name="connsiteY0" fmla="*/ 0 h 5381237"/>
              <a:gd name="connsiteX1" fmla="*/ 11393177 w 12201525"/>
              <a:gd name="connsiteY1" fmla="*/ 5019039 h 5381237"/>
              <a:gd name="connsiteX2" fmla="*/ 12201525 w 12201525"/>
              <a:gd name="connsiteY2" fmla="*/ 5372319 h 5381237"/>
              <a:gd name="connsiteX3" fmla="*/ 0 w 12201525"/>
              <a:gd name="connsiteY3" fmla="*/ 5381237 h 5381237"/>
              <a:gd name="connsiteX4" fmla="*/ 0 w 12201525"/>
              <a:gd name="connsiteY4" fmla="*/ 0 h 5381237"/>
              <a:gd name="connsiteX0" fmla="*/ 0 w 12201525"/>
              <a:gd name="connsiteY0" fmla="*/ 0 h 5381237"/>
              <a:gd name="connsiteX1" fmla="*/ 11378870 w 12201525"/>
              <a:gd name="connsiteY1" fmla="*/ 5036287 h 5381237"/>
              <a:gd name="connsiteX2" fmla="*/ 12201525 w 12201525"/>
              <a:gd name="connsiteY2" fmla="*/ 5372319 h 5381237"/>
              <a:gd name="connsiteX3" fmla="*/ 0 w 12201525"/>
              <a:gd name="connsiteY3" fmla="*/ 5381237 h 5381237"/>
              <a:gd name="connsiteX4" fmla="*/ 0 w 12201525"/>
              <a:gd name="connsiteY4" fmla="*/ 0 h 5381237"/>
              <a:gd name="connsiteX0" fmla="*/ 0 w 12201525"/>
              <a:gd name="connsiteY0" fmla="*/ 0 h 5519217"/>
              <a:gd name="connsiteX1" fmla="*/ 11378870 w 12201525"/>
              <a:gd name="connsiteY1" fmla="*/ 5174267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407484 w 12201525"/>
              <a:gd name="connsiteY1" fmla="*/ 5174268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378870 w 12201525"/>
              <a:gd name="connsiteY1" fmla="*/ 5208764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  <a:gd name="connsiteX0" fmla="*/ 0 w 12201525"/>
              <a:gd name="connsiteY0" fmla="*/ 0 h 5519217"/>
              <a:gd name="connsiteX1" fmla="*/ 11483788 w 12201525"/>
              <a:gd name="connsiteY1" fmla="*/ 5200141 h 5519217"/>
              <a:gd name="connsiteX2" fmla="*/ 12201525 w 12201525"/>
              <a:gd name="connsiteY2" fmla="*/ 5510299 h 5519217"/>
              <a:gd name="connsiteX3" fmla="*/ 0 w 12201525"/>
              <a:gd name="connsiteY3" fmla="*/ 5519217 h 5519217"/>
              <a:gd name="connsiteX4" fmla="*/ 0 w 12201525"/>
              <a:gd name="connsiteY4" fmla="*/ 0 h 5519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525" h="5519217">
                <a:moveTo>
                  <a:pt x="0" y="0"/>
                </a:moveTo>
                <a:lnTo>
                  <a:pt x="11483788" y="5200141"/>
                </a:lnTo>
                <a:lnTo>
                  <a:pt x="12201525" y="5510299"/>
                </a:lnTo>
                <a:lnTo>
                  <a:pt x="0" y="551921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A5197B9-3FB1-4F6F-9744-9B1F026A1E68}"/>
              </a:ext>
            </a:extLst>
          </p:cNvPr>
          <p:cNvSpPr/>
          <p:nvPr userDrawn="1"/>
        </p:nvSpPr>
        <p:spPr>
          <a:xfrm>
            <a:off x="933452" y="-9525"/>
            <a:ext cx="11249025" cy="6874782"/>
          </a:xfrm>
          <a:custGeom>
            <a:avLst/>
            <a:gdLst>
              <a:gd name="connsiteX0" fmla="*/ 0 w 11249025"/>
              <a:gd name="connsiteY0" fmla="*/ 0 h 6867525"/>
              <a:gd name="connsiteX1" fmla="*/ 3971925 w 11249025"/>
              <a:gd name="connsiteY1" fmla="*/ 6867525 h 6867525"/>
              <a:gd name="connsiteX2" fmla="*/ 6743700 w 11249025"/>
              <a:gd name="connsiteY2" fmla="*/ 6867525 h 6867525"/>
              <a:gd name="connsiteX3" fmla="*/ 11249025 w 11249025"/>
              <a:gd name="connsiteY3" fmla="*/ 3143250 h 6867525"/>
              <a:gd name="connsiteX4" fmla="*/ 11249025 w 11249025"/>
              <a:gd name="connsiteY4" fmla="*/ 9525 h 6867525"/>
              <a:gd name="connsiteX5" fmla="*/ 0 w 11249025"/>
              <a:gd name="connsiteY5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9025" h="6867525">
                <a:moveTo>
                  <a:pt x="0" y="0"/>
                </a:moveTo>
                <a:lnTo>
                  <a:pt x="3971925" y="6867525"/>
                </a:lnTo>
                <a:lnTo>
                  <a:pt x="6743700" y="6867525"/>
                </a:lnTo>
                <a:lnTo>
                  <a:pt x="11249025" y="3143250"/>
                </a:lnTo>
                <a:lnTo>
                  <a:pt x="1124902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BEBECF9-53D6-4F15-B120-0BFBAE7FB9AC}"/>
              </a:ext>
            </a:extLst>
          </p:cNvPr>
          <p:cNvSpPr/>
          <p:nvPr userDrawn="1"/>
        </p:nvSpPr>
        <p:spPr>
          <a:xfrm>
            <a:off x="1" y="-9525"/>
            <a:ext cx="12201526" cy="6862763"/>
          </a:xfrm>
          <a:custGeom>
            <a:avLst/>
            <a:gdLst>
              <a:gd name="connsiteX0" fmla="*/ 0 w 12211050"/>
              <a:gd name="connsiteY0" fmla="*/ 1552575 h 6848475"/>
              <a:gd name="connsiteX1" fmla="*/ 12211050 w 12211050"/>
              <a:gd name="connsiteY1" fmla="*/ 6848475 h 6848475"/>
              <a:gd name="connsiteX2" fmla="*/ 12211050 w 12211050"/>
              <a:gd name="connsiteY2" fmla="*/ 0 h 6848475"/>
              <a:gd name="connsiteX3" fmla="*/ 9525 w 12211050"/>
              <a:gd name="connsiteY3" fmla="*/ 0 h 6848475"/>
              <a:gd name="connsiteX4" fmla="*/ 0 w 12211050"/>
              <a:gd name="connsiteY4" fmla="*/ 1552575 h 6848475"/>
              <a:gd name="connsiteX0" fmla="*/ 0 w 12211050"/>
              <a:gd name="connsiteY0" fmla="*/ 1552575 h 6862763"/>
              <a:gd name="connsiteX1" fmla="*/ 12206287 w 12211050"/>
              <a:gd name="connsiteY1" fmla="*/ 6862763 h 6862763"/>
              <a:gd name="connsiteX2" fmla="*/ 12211050 w 12211050"/>
              <a:gd name="connsiteY2" fmla="*/ 0 h 6862763"/>
              <a:gd name="connsiteX3" fmla="*/ 9525 w 12211050"/>
              <a:gd name="connsiteY3" fmla="*/ 0 h 6862763"/>
              <a:gd name="connsiteX4" fmla="*/ 0 w 12211050"/>
              <a:gd name="connsiteY4" fmla="*/ 1552575 h 6862763"/>
              <a:gd name="connsiteX0" fmla="*/ 3175 w 12201525"/>
              <a:gd name="connsiteY0" fmla="*/ 9175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3175 w 12201525"/>
              <a:gd name="connsiteY4" fmla="*/ 917575 h 6862763"/>
              <a:gd name="connsiteX0" fmla="*/ 68 w 12211118"/>
              <a:gd name="connsiteY0" fmla="*/ 790575 h 6862763"/>
              <a:gd name="connsiteX1" fmla="*/ 12206355 w 12211118"/>
              <a:gd name="connsiteY1" fmla="*/ 6862763 h 6862763"/>
              <a:gd name="connsiteX2" fmla="*/ 12211118 w 12211118"/>
              <a:gd name="connsiteY2" fmla="*/ 0 h 6862763"/>
              <a:gd name="connsiteX3" fmla="*/ 9593 w 12211118"/>
              <a:gd name="connsiteY3" fmla="*/ 0 h 6862763"/>
              <a:gd name="connsiteX4" fmla="*/ 68 w 12211118"/>
              <a:gd name="connsiteY4" fmla="*/ 790575 h 6862763"/>
              <a:gd name="connsiteX0" fmla="*/ 15875 w 12201525"/>
              <a:gd name="connsiteY0" fmla="*/ 7016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15875 w 12201525"/>
              <a:gd name="connsiteY4" fmla="*/ 701675 h 6862763"/>
              <a:gd name="connsiteX0" fmla="*/ 28575 w 12201525"/>
              <a:gd name="connsiteY0" fmla="*/ 625475 h 6862763"/>
              <a:gd name="connsiteX1" fmla="*/ 12196762 w 12201525"/>
              <a:gd name="connsiteY1" fmla="*/ 6862763 h 6862763"/>
              <a:gd name="connsiteX2" fmla="*/ 12201525 w 12201525"/>
              <a:gd name="connsiteY2" fmla="*/ 0 h 6862763"/>
              <a:gd name="connsiteX3" fmla="*/ 0 w 12201525"/>
              <a:gd name="connsiteY3" fmla="*/ 0 h 6862763"/>
              <a:gd name="connsiteX4" fmla="*/ 28575 w 12201525"/>
              <a:gd name="connsiteY4" fmla="*/ 625475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525" h="6862763">
                <a:moveTo>
                  <a:pt x="28575" y="625475"/>
                </a:moveTo>
                <a:cubicBezTo>
                  <a:pt x="4097337" y="2395538"/>
                  <a:pt x="8128000" y="5092700"/>
                  <a:pt x="12196762" y="6862763"/>
                </a:cubicBezTo>
                <a:cubicBezTo>
                  <a:pt x="12198350" y="4575175"/>
                  <a:pt x="12199937" y="2287588"/>
                  <a:pt x="12201525" y="0"/>
                </a:cubicBezTo>
                <a:lnTo>
                  <a:pt x="0" y="0"/>
                </a:lnTo>
                <a:cubicBezTo>
                  <a:pt x="1058" y="305858"/>
                  <a:pt x="27517" y="319617"/>
                  <a:pt x="28575" y="6254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C13901E-0274-4A70-9E54-F31B476A2A70}"/>
              </a:ext>
            </a:extLst>
          </p:cNvPr>
          <p:cNvSpPr/>
          <p:nvPr userDrawn="1"/>
        </p:nvSpPr>
        <p:spPr>
          <a:xfrm>
            <a:off x="9348711" y="3143393"/>
            <a:ext cx="2854167" cy="3714150"/>
          </a:xfrm>
          <a:custGeom>
            <a:avLst/>
            <a:gdLst>
              <a:gd name="connsiteX0" fmla="*/ 2929756 w 2929756"/>
              <a:gd name="connsiteY0" fmla="*/ 0 h 3707800"/>
              <a:gd name="connsiteX1" fmla="*/ 2929756 w 2929756"/>
              <a:gd name="connsiteY1" fmla="*/ 3707800 h 3707800"/>
              <a:gd name="connsiteX2" fmla="*/ 0 w 2929756"/>
              <a:gd name="connsiteY2" fmla="*/ 2414151 h 3707800"/>
              <a:gd name="connsiteX0" fmla="*/ 2929756 w 2929756"/>
              <a:gd name="connsiteY0" fmla="*/ 0 h 3771300"/>
              <a:gd name="connsiteX1" fmla="*/ 2866256 w 2929756"/>
              <a:gd name="connsiteY1" fmla="*/ 3771300 h 3771300"/>
              <a:gd name="connsiteX2" fmla="*/ 0 w 2929756"/>
              <a:gd name="connsiteY2" fmla="*/ 2414151 h 3771300"/>
              <a:gd name="connsiteX3" fmla="*/ 2929756 w 2929756"/>
              <a:gd name="connsiteY3" fmla="*/ 0 h 3771300"/>
              <a:gd name="connsiteX0" fmla="*/ 2885306 w 2885306"/>
              <a:gd name="connsiteY0" fmla="*/ 0 h 3752250"/>
              <a:gd name="connsiteX1" fmla="*/ 2866256 w 2885306"/>
              <a:gd name="connsiteY1" fmla="*/ 3752250 h 3752250"/>
              <a:gd name="connsiteX2" fmla="*/ 0 w 2885306"/>
              <a:gd name="connsiteY2" fmla="*/ 2395101 h 3752250"/>
              <a:gd name="connsiteX3" fmla="*/ 2885306 w 2885306"/>
              <a:gd name="connsiteY3" fmla="*/ 0 h 3752250"/>
              <a:gd name="connsiteX0" fmla="*/ 2872606 w 2872606"/>
              <a:gd name="connsiteY0" fmla="*/ 0 h 3714150"/>
              <a:gd name="connsiteX1" fmla="*/ 2866256 w 2872606"/>
              <a:gd name="connsiteY1" fmla="*/ 3714150 h 3714150"/>
              <a:gd name="connsiteX2" fmla="*/ 0 w 2872606"/>
              <a:gd name="connsiteY2" fmla="*/ 2357001 h 3714150"/>
              <a:gd name="connsiteX3" fmla="*/ 2872606 w 2872606"/>
              <a:gd name="connsiteY3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0 w 2873217"/>
              <a:gd name="connsiteY2" fmla="*/ 2357001 h 3714150"/>
              <a:gd name="connsiteX3" fmla="*/ 2872606 w 2873217"/>
              <a:gd name="connsiteY3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595640 w 2873217"/>
              <a:gd name="connsiteY2" fmla="*/ 357490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27390 w 2873217"/>
              <a:gd name="connsiteY2" fmla="*/ 363205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55965 w 2873217"/>
              <a:gd name="connsiteY2" fmla="*/ 3622532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17865 w 2873217"/>
              <a:gd name="connsiteY2" fmla="*/ 3632057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72606 w 2873217"/>
              <a:gd name="connsiteY0" fmla="*/ 0 h 3714150"/>
              <a:gd name="connsiteX1" fmla="*/ 2872606 w 2873217"/>
              <a:gd name="connsiteY1" fmla="*/ 3714150 h 3714150"/>
              <a:gd name="connsiteX2" fmla="*/ 2622628 w 2873217"/>
              <a:gd name="connsiteY2" fmla="*/ 3608244 h 3714150"/>
              <a:gd name="connsiteX3" fmla="*/ 0 w 2873217"/>
              <a:gd name="connsiteY3" fmla="*/ 2357001 h 3714150"/>
              <a:gd name="connsiteX4" fmla="*/ 2872606 w 287321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603578 w 2854167"/>
              <a:gd name="connsiteY2" fmla="*/ 3608244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55953 w 2854167"/>
              <a:gd name="connsiteY2" fmla="*/ 3608244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32141 w 2854167"/>
              <a:gd name="connsiteY2" fmla="*/ 3605863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  <a:gd name="connsiteX0" fmla="*/ 2853556 w 2854167"/>
              <a:gd name="connsiteY0" fmla="*/ 0 h 3714150"/>
              <a:gd name="connsiteX1" fmla="*/ 2853556 w 2854167"/>
              <a:gd name="connsiteY1" fmla="*/ 3714150 h 3714150"/>
              <a:gd name="connsiteX2" fmla="*/ 2532141 w 2854167"/>
              <a:gd name="connsiteY2" fmla="*/ 3605863 h 3714150"/>
              <a:gd name="connsiteX3" fmla="*/ 0 w 2854167"/>
              <a:gd name="connsiteY3" fmla="*/ 2342713 h 3714150"/>
              <a:gd name="connsiteX4" fmla="*/ 2853556 w 2854167"/>
              <a:gd name="connsiteY4" fmla="*/ 0 h 371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4167" h="3714150">
                <a:moveTo>
                  <a:pt x="2853556" y="0"/>
                </a:moveTo>
                <a:cubicBezTo>
                  <a:pt x="2851439" y="1238050"/>
                  <a:pt x="2855673" y="2476100"/>
                  <a:pt x="2853556" y="3714150"/>
                </a:cubicBezTo>
                <a:lnTo>
                  <a:pt x="2532141" y="3605863"/>
                </a:lnTo>
                <a:lnTo>
                  <a:pt x="0" y="2342713"/>
                </a:lnTo>
                <a:lnTo>
                  <a:pt x="2853556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71348FA-57BA-4956-9B31-348AE1E5E7CC}"/>
              </a:ext>
            </a:extLst>
          </p:cNvPr>
          <p:cNvSpPr/>
          <p:nvPr userDrawn="1"/>
        </p:nvSpPr>
        <p:spPr>
          <a:xfrm>
            <a:off x="-9526" y="-9527"/>
            <a:ext cx="4286251" cy="6877051"/>
          </a:xfrm>
          <a:custGeom>
            <a:avLst/>
            <a:gdLst>
              <a:gd name="connsiteX0" fmla="*/ 0 w 4248150"/>
              <a:gd name="connsiteY0" fmla="*/ 0 h 6877050"/>
              <a:gd name="connsiteX1" fmla="*/ 0 w 4248150"/>
              <a:gd name="connsiteY1" fmla="*/ 6877050 h 6877050"/>
              <a:gd name="connsiteX2" fmla="*/ 2914650 w 4248150"/>
              <a:gd name="connsiteY2" fmla="*/ 6877050 h 6877050"/>
              <a:gd name="connsiteX3" fmla="*/ 4248150 w 4248150"/>
              <a:gd name="connsiteY3" fmla="*/ 5753100 h 6877050"/>
              <a:gd name="connsiteX4" fmla="*/ 962025 w 4248150"/>
              <a:gd name="connsiteY4" fmla="*/ 19050 h 6877050"/>
              <a:gd name="connsiteX5" fmla="*/ 0 w 4248150"/>
              <a:gd name="connsiteY5" fmla="*/ 0 h 6877050"/>
              <a:gd name="connsiteX0" fmla="*/ 0 w 4248150"/>
              <a:gd name="connsiteY0" fmla="*/ 1 h 6877051"/>
              <a:gd name="connsiteX1" fmla="*/ 0 w 4248150"/>
              <a:gd name="connsiteY1" fmla="*/ 6877051 h 6877051"/>
              <a:gd name="connsiteX2" fmla="*/ 2914650 w 4248150"/>
              <a:gd name="connsiteY2" fmla="*/ 6877051 h 6877051"/>
              <a:gd name="connsiteX3" fmla="*/ 4248150 w 4248150"/>
              <a:gd name="connsiteY3" fmla="*/ 5753101 h 6877051"/>
              <a:gd name="connsiteX4" fmla="*/ 952500 w 4248150"/>
              <a:gd name="connsiteY4" fmla="*/ 0 h 6877051"/>
              <a:gd name="connsiteX5" fmla="*/ 0 w 42481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14650 w 4286250"/>
              <a:gd name="connsiteY2" fmla="*/ 6877051 h 6877051"/>
              <a:gd name="connsiteX3" fmla="*/ 4286250 w 4286250"/>
              <a:gd name="connsiteY3" fmla="*/ 574675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27350 w 4286250"/>
              <a:gd name="connsiteY2" fmla="*/ 6877051 h 6877051"/>
              <a:gd name="connsiteX3" fmla="*/ 4286250 w 4286250"/>
              <a:gd name="connsiteY3" fmla="*/ 574675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  <a:gd name="connsiteX0" fmla="*/ 0 w 4286250"/>
              <a:gd name="connsiteY0" fmla="*/ 1 h 6877051"/>
              <a:gd name="connsiteX1" fmla="*/ 0 w 4286250"/>
              <a:gd name="connsiteY1" fmla="*/ 6877051 h 6877051"/>
              <a:gd name="connsiteX2" fmla="*/ 2927350 w 4286250"/>
              <a:gd name="connsiteY2" fmla="*/ 6877051 h 6877051"/>
              <a:gd name="connsiteX3" fmla="*/ 4286250 w 4286250"/>
              <a:gd name="connsiteY3" fmla="*/ 5753101 h 6877051"/>
              <a:gd name="connsiteX4" fmla="*/ 952500 w 4286250"/>
              <a:gd name="connsiteY4" fmla="*/ 0 h 6877051"/>
              <a:gd name="connsiteX5" fmla="*/ 0 w 4286250"/>
              <a:gd name="connsiteY5" fmla="*/ 1 h 6877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6250" h="6877051">
                <a:moveTo>
                  <a:pt x="0" y="1"/>
                </a:moveTo>
                <a:lnTo>
                  <a:pt x="0" y="6877051"/>
                </a:lnTo>
                <a:lnTo>
                  <a:pt x="2927350" y="6877051"/>
                </a:lnTo>
                <a:lnTo>
                  <a:pt x="4286250" y="5753101"/>
                </a:lnTo>
                <a:lnTo>
                  <a:pt x="95250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noProof="0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2DCC58E-A4D6-45DC-BAB4-7C5D3B8CDB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8695" y="2506796"/>
            <a:ext cx="8163188" cy="1006475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GB" noProof="0" dirty="0"/>
              <a:t>Header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282ECD2-D70B-41C5-87C7-72AF4BC883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9302" y="3724407"/>
            <a:ext cx="8239124" cy="7286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pace for subtitle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A52F2AF-1BD3-482F-8024-ED87C89BBC0E}"/>
              </a:ext>
            </a:extLst>
          </p:cNvPr>
          <p:cNvSpPr/>
          <p:nvPr userDrawn="1"/>
        </p:nvSpPr>
        <p:spPr>
          <a:xfrm>
            <a:off x="2916766" y="5740665"/>
            <a:ext cx="2025227" cy="1126755"/>
          </a:xfrm>
          <a:custGeom>
            <a:avLst/>
            <a:gdLst>
              <a:gd name="connsiteX0" fmla="*/ 0 w 2025226"/>
              <a:gd name="connsiteY0" fmla="*/ 1124374 h 1124374"/>
              <a:gd name="connsiteX1" fmla="*/ 1361440 w 2025226"/>
              <a:gd name="connsiteY1" fmla="*/ 0 h 1124374"/>
              <a:gd name="connsiteX2" fmla="*/ 2025226 w 2025226"/>
              <a:gd name="connsiteY2" fmla="*/ 1117600 h 1124374"/>
              <a:gd name="connsiteX3" fmla="*/ 0 w 2025226"/>
              <a:gd name="connsiteY3" fmla="*/ 1124374 h 1124374"/>
              <a:gd name="connsiteX0" fmla="*/ 0 w 2025226"/>
              <a:gd name="connsiteY0" fmla="*/ 1129137 h 1129137"/>
              <a:gd name="connsiteX1" fmla="*/ 1370965 w 2025226"/>
              <a:gd name="connsiteY1" fmla="*/ 0 h 1129137"/>
              <a:gd name="connsiteX2" fmla="*/ 2025226 w 2025226"/>
              <a:gd name="connsiteY2" fmla="*/ 1122363 h 1129137"/>
              <a:gd name="connsiteX3" fmla="*/ 0 w 2025226"/>
              <a:gd name="connsiteY3" fmla="*/ 1129137 h 1129137"/>
              <a:gd name="connsiteX0" fmla="*/ 0 w 2025226"/>
              <a:gd name="connsiteY0" fmla="*/ 1141043 h 1141043"/>
              <a:gd name="connsiteX1" fmla="*/ 1361440 w 2025226"/>
              <a:gd name="connsiteY1" fmla="*/ 0 h 1141043"/>
              <a:gd name="connsiteX2" fmla="*/ 2025226 w 2025226"/>
              <a:gd name="connsiteY2" fmla="*/ 1134269 h 1141043"/>
              <a:gd name="connsiteX3" fmla="*/ 0 w 2025226"/>
              <a:gd name="connsiteY3" fmla="*/ 1141043 h 1141043"/>
              <a:gd name="connsiteX0" fmla="*/ 0 w 2025226"/>
              <a:gd name="connsiteY0" fmla="*/ 1141043 h 1141043"/>
              <a:gd name="connsiteX1" fmla="*/ 1361440 w 2025226"/>
              <a:gd name="connsiteY1" fmla="*/ 0 h 1141043"/>
              <a:gd name="connsiteX2" fmla="*/ 2025226 w 2025226"/>
              <a:gd name="connsiteY2" fmla="*/ 1124744 h 1141043"/>
              <a:gd name="connsiteX3" fmla="*/ 0 w 2025226"/>
              <a:gd name="connsiteY3" fmla="*/ 1141043 h 1141043"/>
              <a:gd name="connsiteX0" fmla="*/ 0 w 2025226"/>
              <a:gd name="connsiteY0" fmla="*/ 1126755 h 1126755"/>
              <a:gd name="connsiteX1" fmla="*/ 1361440 w 2025226"/>
              <a:gd name="connsiteY1" fmla="*/ 0 h 1126755"/>
              <a:gd name="connsiteX2" fmla="*/ 2025226 w 2025226"/>
              <a:gd name="connsiteY2" fmla="*/ 1124744 h 1126755"/>
              <a:gd name="connsiteX3" fmla="*/ 0 w 2025226"/>
              <a:gd name="connsiteY3" fmla="*/ 1126755 h 112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5226" h="1126755">
                <a:moveTo>
                  <a:pt x="0" y="1126755"/>
                </a:moveTo>
                <a:lnTo>
                  <a:pt x="1361440" y="0"/>
                </a:lnTo>
                <a:lnTo>
                  <a:pt x="2025226" y="1124744"/>
                </a:lnTo>
                <a:lnTo>
                  <a:pt x="0" y="1126755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7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350" noProof="0" dirty="0">
              <a:solidFill>
                <a:srgbClr val="248D37"/>
              </a:solidFill>
            </a:endParaRPr>
          </a:p>
        </p:txBody>
      </p:sp>
      <p:sp>
        <p:nvSpPr>
          <p:cNvPr id="29" name="Rechthoek 6">
            <a:extLst>
              <a:ext uri="{FF2B5EF4-FFF2-40B4-BE49-F238E27FC236}">
                <a16:creationId xmlns:a16="http://schemas.microsoft.com/office/drawing/2014/main" id="{939F435D-1D63-4ED9-8C0B-F19B4FFDA104}"/>
              </a:ext>
            </a:extLst>
          </p:cNvPr>
          <p:cNvSpPr/>
          <p:nvPr userDrawn="1"/>
        </p:nvSpPr>
        <p:spPr>
          <a:xfrm>
            <a:off x="11468969" y="6418608"/>
            <a:ext cx="39626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GB" sz="9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6D7AD661-DF20-4884-B330-435E5009E890}"/>
              </a:ext>
            </a:extLst>
          </p:cNvPr>
          <p:cNvSpPr>
            <a:spLocks/>
          </p:cNvSpPr>
          <p:nvPr userDrawn="1"/>
        </p:nvSpPr>
        <p:spPr bwMode="auto">
          <a:xfrm>
            <a:off x="10525904" y="6253810"/>
            <a:ext cx="1675621" cy="604194"/>
          </a:xfrm>
          <a:custGeom>
            <a:avLst/>
            <a:gdLst>
              <a:gd name="T0" fmla="*/ 0 w 3176"/>
              <a:gd name="T1" fmla="*/ 1121 h 1121"/>
              <a:gd name="T2" fmla="*/ 821 w 3176"/>
              <a:gd name="T3" fmla="*/ 0 h 1121"/>
              <a:gd name="T4" fmla="*/ 3176 w 3176"/>
              <a:gd name="T5" fmla="*/ 0 h 1121"/>
              <a:gd name="T6" fmla="*/ 3176 w 3176"/>
              <a:gd name="T7" fmla="*/ 1121 h 1121"/>
              <a:gd name="T8" fmla="*/ 0 w 3176"/>
              <a:gd name="T9" fmla="*/ 1121 h 1121"/>
              <a:gd name="connsiteX0" fmla="*/ 0 w 10000"/>
              <a:gd name="connsiteY0" fmla="*/ 10040 h 10040"/>
              <a:gd name="connsiteX1" fmla="*/ 2292 w 10000"/>
              <a:gd name="connsiteY1" fmla="*/ 0 h 10040"/>
              <a:gd name="connsiteX2" fmla="*/ 10000 w 10000"/>
              <a:gd name="connsiteY2" fmla="*/ 40 h 10040"/>
              <a:gd name="connsiteX3" fmla="*/ 10000 w 10000"/>
              <a:gd name="connsiteY3" fmla="*/ 10040 h 10040"/>
              <a:gd name="connsiteX4" fmla="*/ 0 w 10000"/>
              <a:gd name="connsiteY4" fmla="*/ 1004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40">
                <a:moveTo>
                  <a:pt x="0" y="10040"/>
                </a:moveTo>
                <a:lnTo>
                  <a:pt x="2292" y="0"/>
                </a:lnTo>
                <a:lnTo>
                  <a:pt x="10000" y="40"/>
                </a:lnTo>
                <a:lnTo>
                  <a:pt x="10000" y="10040"/>
                </a:lnTo>
                <a:lnTo>
                  <a:pt x="0" y="10040"/>
                </a:lnTo>
                <a:close/>
              </a:path>
            </a:pathLst>
          </a:custGeom>
          <a:solidFill>
            <a:srgbClr val="EA5B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 dirty="0"/>
          </a:p>
        </p:txBody>
      </p: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EB9E018E-E1E6-432B-9338-2A6A1E5CB87A}"/>
              </a:ext>
            </a:extLst>
          </p:cNvPr>
          <p:cNvSpPr/>
          <p:nvPr userDrawn="1"/>
        </p:nvSpPr>
        <p:spPr>
          <a:xfrm>
            <a:off x="10530808" y="500295"/>
            <a:ext cx="1017738" cy="290281"/>
          </a:xfrm>
          <a:custGeom>
            <a:avLst/>
            <a:gdLst>
              <a:gd name="connsiteX0" fmla="*/ 696675 w 1017738"/>
              <a:gd name="connsiteY0" fmla="*/ 158105 h 290281"/>
              <a:gd name="connsiteX1" fmla="*/ 672214 w 1017738"/>
              <a:gd name="connsiteY1" fmla="*/ 161041 h 290281"/>
              <a:gd name="connsiteX2" fmla="*/ 654846 w 1017738"/>
              <a:gd name="connsiteY2" fmla="*/ 182323 h 290281"/>
              <a:gd name="connsiteX3" fmla="*/ 676861 w 1017738"/>
              <a:gd name="connsiteY3" fmla="*/ 201647 h 290281"/>
              <a:gd name="connsiteX4" fmla="*/ 696920 w 1017738"/>
              <a:gd name="connsiteY4" fmla="*/ 199201 h 290281"/>
              <a:gd name="connsiteX5" fmla="*/ 696675 w 1017738"/>
              <a:gd name="connsiteY5" fmla="*/ 158105 h 290281"/>
              <a:gd name="connsiteX6" fmla="*/ 500770 w 1017738"/>
              <a:gd name="connsiteY6" fmla="*/ 107856 h 290281"/>
              <a:gd name="connsiteX7" fmla="*/ 495109 w 1017738"/>
              <a:gd name="connsiteY7" fmla="*/ 108203 h 290281"/>
              <a:gd name="connsiteX8" fmla="*/ 482389 w 1017738"/>
              <a:gd name="connsiteY8" fmla="*/ 109915 h 290281"/>
              <a:gd name="connsiteX9" fmla="*/ 482389 w 1017738"/>
              <a:gd name="connsiteY9" fmla="*/ 200180 h 290281"/>
              <a:gd name="connsiteX10" fmla="*/ 500002 w 1017738"/>
              <a:gd name="connsiteY10" fmla="*/ 202626 h 290281"/>
              <a:gd name="connsiteX11" fmla="*/ 534982 w 1017738"/>
              <a:gd name="connsiteY11" fmla="*/ 150767 h 290281"/>
              <a:gd name="connsiteX12" fmla="*/ 500770 w 1017738"/>
              <a:gd name="connsiteY12" fmla="*/ 107856 h 290281"/>
              <a:gd name="connsiteX13" fmla="*/ 680839 w 1017738"/>
              <a:gd name="connsiteY13" fmla="*/ 74177 h 290281"/>
              <a:gd name="connsiteX14" fmla="*/ 699774 w 1017738"/>
              <a:gd name="connsiteY14" fmla="*/ 74527 h 290281"/>
              <a:gd name="connsiteX15" fmla="*/ 742990 w 1017738"/>
              <a:gd name="connsiteY15" fmla="*/ 121657 h 290281"/>
              <a:gd name="connsiteX16" fmla="*/ 742990 w 1017738"/>
              <a:gd name="connsiteY16" fmla="*/ 230594 h 290281"/>
              <a:gd name="connsiteX17" fmla="*/ 698632 w 1017738"/>
              <a:gd name="connsiteY17" fmla="*/ 230594 h 290281"/>
              <a:gd name="connsiteX18" fmla="*/ 698632 w 1017738"/>
              <a:gd name="connsiteY18" fmla="*/ 219505 h 290281"/>
              <a:gd name="connsiteX19" fmla="*/ 652318 w 1017738"/>
              <a:gd name="connsiteY19" fmla="*/ 232551 h 290281"/>
              <a:gd name="connsiteX20" fmla="*/ 609265 w 1017738"/>
              <a:gd name="connsiteY20" fmla="*/ 188846 h 290281"/>
              <a:gd name="connsiteX21" fmla="*/ 654275 w 1017738"/>
              <a:gd name="connsiteY21" fmla="*/ 137313 h 290281"/>
              <a:gd name="connsiteX22" fmla="*/ 696675 w 1017738"/>
              <a:gd name="connsiteY22" fmla="*/ 136660 h 290281"/>
              <a:gd name="connsiteX23" fmla="*/ 696675 w 1017738"/>
              <a:gd name="connsiteY23" fmla="*/ 119700 h 290281"/>
              <a:gd name="connsiteX24" fmla="*/ 675149 w 1017738"/>
              <a:gd name="connsiteY24" fmla="*/ 104697 h 290281"/>
              <a:gd name="connsiteX25" fmla="*/ 621007 w 1017738"/>
              <a:gd name="connsiteY25" fmla="*/ 109915 h 290281"/>
              <a:gd name="connsiteX26" fmla="*/ 621007 w 1017738"/>
              <a:gd name="connsiteY26" fmla="*/ 83170 h 290281"/>
              <a:gd name="connsiteX27" fmla="*/ 680839 w 1017738"/>
              <a:gd name="connsiteY27" fmla="*/ 74177 h 290281"/>
              <a:gd name="connsiteX28" fmla="*/ 880629 w 1017738"/>
              <a:gd name="connsiteY28" fmla="*/ 73712 h 290281"/>
              <a:gd name="connsiteX29" fmla="*/ 911940 w 1017738"/>
              <a:gd name="connsiteY29" fmla="*/ 87655 h 290281"/>
              <a:gd name="connsiteX30" fmla="*/ 981657 w 1017738"/>
              <a:gd name="connsiteY30" fmla="*/ 74446 h 290281"/>
              <a:gd name="connsiteX31" fmla="*/ 1017616 w 1017738"/>
              <a:gd name="connsiteY31" fmla="*/ 117009 h 290281"/>
              <a:gd name="connsiteX32" fmla="*/ 1017616 w 1017738"/>
              <a:gd name="connsiteY32" fmla="*/ 77870 h 290281"/>
              <a:gd name="connsiteX33" fmla="*/ 1017738 w 1017738"/>
              <a:gd name="connsiteY33" fmla="*/ 77870 h 290281"/>
              <a:gd name="connsiteX34" fmla="*/ 1017738 w 1017738"/>
              <a:gd name="connsiteY34" fmla="*/ 116031 h 290281"/>
              <a:gd name="connsiteX35" fmla="*/ 1017738 w 1017738"/>
              <a:gd name="connsiteY35" fmla="*/ 134377 h 290281"/>
              <a:gd name="connsiteX36" fmla="*/ 1017738 w 1017738"/>
              <a:gd name="connsiteY36" fmla="*/ 230023 h 290281"/>
              <a:gd name="connsiteX37" fmla="*/ 969670 w 1017738"/>
              <a:gd name="connsiteY37" fmla="*/ 230023 h 290281"/>
              <a:gd name="connsiteX38" fmla="*/ 969670 w 1017738"/>
              <a:gd name="connsiteY38" fmla="*/ 148321 h 290281"/>
              <a:gd name="connsiteX39" fmla="*/ 969879 w 1017738"/>
              <a:gd name="connsiteY39" fmla="*/ 148321 h 290281"/>
              <a:gd name="connsiteX40" fmla="*/ 969879 w 1017738"/>
              <a:gd name="connsiteY40" fmla="*/ 123125 h 290281"/>
              <a:gd name="connsiteX41" fmla="*/ 949731 w 1017738"/>
              <a:gd name="connsiteY41" fmla="*/ 107225 h 290281"/>
              <a:gd name="connsiteX42" fmla="*/ 922459 w 1017738"/>
              <a:gd name="connsiteY42" fmla="*/ 110160 h 290281"/>
              <a:gd name="connsiteX43" fmla="*/ 922615 w 1017738"/>
              <a:gd name="connsiteY43" fmla="*/ 134377 h 290281"/>
              <a:gd name="connsiteX44" fmla="*/ 922581 w 1017738"/>
              <a:gd name="connsiteY44" fmla="*/ 134377 h 290281"/>
              <a:gd name="connsiteX45" fmla="*/ 922581 w 1017738"/>
              <a:gd name="connsiteY45" fmla="*/ 230023 h 290281"/>
              <a:gd name="connsiteX46" fmla="*/ 874024 w 1017738"/>
              <a:gd name="connsiteY46" fmla="*/ 230023 h 290281"/>
              <a:gd name="connsiteX47" fmla="*/ 874024 w 1017738"/>
              <a:gd name="connsiteY47" fmla="*/ 134377 h 290281"/>
              <a:gd name="connsiteX48" fmla="*/ 874015 w 1017738"/>
              <a:gd name="connsiteY48" fmla="*/ 134377 h 290281"/>
              <a:gd name="connsiteX49" fmla="*/ 873989 w 1017738"/>
              <a:gd name="connsiteY49" fmla="*/ 123125 h 290281"/>
              <a:gd name="connsiteX50" fmla="*/ 854361 w 1017738"/>
              <a:gd name="connsiteY50" fmla="*/ 107225 h 290281"/>
              <a:gd name="connsiteX51" fmla="*/ 827791 w 1017738"/>
              <a:gd name="connsiteY51" fmla="*/ 110160 h 290281"/>
              <a:gd name="connsiteX52" fmla="*/ 828031 w 1017738"/>
              <a:gd name="connsiteY52" fmla="*/ 148321 h 290281"/>
              <a:gd name="connsiteX53" fmla="*/ 828036 w 1017738"/>
              <a:gd name="connsiteY53" fmla="*/ 148321 h 290281"/>
              <a:gd name="connsiteX54" fmla="*/ 828036 w 1017738"/>
              <a:gd name="connsiteY54" fmla="*/ 230023 h 290281"/>
              <a:gd name="connsiteX55" fmla="*/ 780824 w 1017738"/>
              <a:gd name="connsiteY55" fmla="*/ 230023 h 290281"/>
              <a:gd name="connsiteX56" fmla="*/ 780824 w 1017738"/>
              <a:gd name="connsiteY56" fmla="*/ 77381 h 290281"/>
              <a:gd name="connsiteX57" fmla="*/ 828036 w 1017738"/>
              <a:gd name="connsiteY57" fmla="*/ 77381 h 290281"/>
              <a:gd name="connsiteX58" fmla="*/ 828036 w 1017738"/>
              <a:gd name="connsiteY58" fmla="*/ 77870 h 290281"/>
              <a:gd name="connsiteX59" fmla="*/ 828036 w 1017738"/>
              <a:gd name="connsiteY59" fmla="*/ 86921 h 290281"/>
              <a:gd name="connsiteX60" fmla="*/ 880629 w 1017738"/>
              <a:gd name="connsiteY60" fmla="*/ 73712 h 290281"/>
              <a:gd name="connsiteX61" fmla="*/ 434444 w 1017738"/>
              <a:gd name="connsiteY61" fmla="*/ 326 h 290281"/>
              <a:gd name="connsiteX62" fmla="*/ 482715 w 1017738"/>
              <a:gd name="connsiteY62" fmla="*/ 326 h 290281"/>
              <a:gd name="connsiteX63" fmla="*/ 482715 w 1017738"/>
              <a:gd name="connsiteY63" fmla="*/ 85780 h 290281"/>
              <a:gd name="connsiteX64" fmla="*/ 525768 w 1017738"/>
              <a:gd name="connsiteY64" fmla="*/ 74038 h 290281"/>
              <a:gd name="connsiteX65" fmla="*/ 583824 w 1017738"/>
              <a:gd name="connsiteY65" fmla="*/ 145793 h 290281"/>
              <a:gd name="connsiteX66" fmla="*/ 523159 w 1017738"/>
              <a:gd name="connsiteY66" fmla="*/ 228637 h 290281"/>
              <a:gd name="connsiteX67" fmla="*/ 434444 w 1017738"/>
              <a:gd name="connsiteY67" fmla="*/ 222114 h 290281"/>
              <a:gd name="connsiteX68" fmla="*/ 254241 w 1017738"/>
              <a:gd name="connsiteY68" fmla="*/ 0 h 290281"/>
              <a:gd name="connsiteX69" fmla="*/ 322408 w 1017738"/>
              <a:gd name="connsiteY69" fmla="*/ 10111 h 290281"/>
              <a:gd name="connsiteX70" fmla="*/ 301208 w 1017738"/>
              <a:gd name="connsiteY70" fmla="*/ 76484 h 290281"/>
              <a:gd name="connsiteX71" fmla="*/ 371984 w 1017738"/>
              <a:gd name="connsiteY71" fmla="*/ 92140 h 290281"/>
              <a:gd name="connsiteX72" fmla="*/ 233856 w 1017738"/>
              <a:gd name="connsiteY72" fmla="*/ 290281 h 290281"/>
              <a:gd name="connsiteX73" fmla="*/ 132584 w 1017738"/>
              <a:gd name="connsiteY73" fmla="*/ 227659 h 290281"/>
              <a:gd name="connsiteX74" fmla="*/ 95728 w 1017738"/>
              <a:gd name="connsiteY74" fmla="*/ 258970 h 290281"/>
              <a:gd name="connsiteX75" fmla="*/ 90183 w 1017738"/>
              <a:gd name="connsiteY75" fmla="*/ 157535 h 290281"/>
              <a:gd name="connsiteX76" fmla="*/ 0 w 1017738"/>
              <a:gd name="connsiteY76" fmla="*/ 113340 h 290281"/>
              <a:gd name="connsiteX77" fmla="*/ 87574 w 1017738"/>
              <a:gd name="connsiteY77" fmla="*/ 74690 h 290281"/>
              <a:gd name="connsiteX78" fmla="*/ 174984 w 1017738"/>
              <a:gd name="connsiteY78" fmla="*/ 104208 h 290281"/>
              <a:gd name="connsiteX79" fmla="*/ 170418 w 1017738"/>
              <a:gd name="connsiteY79" fmla="*/ 154762 h 290281"/>
              <a:gd name="connsiteX80" fmla="*/ 198957 w 1017738"/>
              <a:gd name="connsiteY80" fmla="*/ 167646 h 290281"/>
              <a:gd name="connsiteX81" fmla="*/ 213634 w 1017738"/>
              <a:gd name="connsiteY81" fmla="*/ 79257 h 290281"/>
              <a:gd name="connsiteX82" fmla="*/ 128017 w 1017738"/>
              <a:gd name="connsiteY82" fmla="*/ 56262 h 290281"/>
              <a:gd name="connsiteX83" fmla="*/ 178735 w 1017738"/>
              <a:gd name="connsiteY83" fmla="*/ 34084 h 290281"/>
              <a:gd name="connsiteX84" fmla="*/ 259786 w 1017738"/>
              <a:gd name="connsiteY84" fmla="*/ 49739 h 290281"/>
              <a:gd name="connsiteX85" fmla="*/ 248696 w 1017738"/>
              <a:gd name="connsiteY85" fmla="*/ 98663 h 290281"/>
              <a:gd name="connsiteX86" fmla="*/ 269897 w 1017738"/>
              <a:gd name="connsiteY86" fmla="*/ 104208 h 290281"/>
              <a:gd name="connsiteX87" fmla="*/ 290118 w 1017738"/>
              <a:gd name="connsiteY87" fmla="*/ 30496 h 290281"/>
              <a:gd name="connsiteX88" fmla="*/ 214613 w 1017738"/>
              <a:gd name="connsiteY88" fmla="*/ 17450 h 29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017738" h="290281">
                <a:moveTo>
                  <a:pt x="696675" y="158105"/>
                </a:moveTo>
                <a:cubicBezTo>
                  <a:pt x="688521" y="159084"/>
                  <a:pt x="678900" y="159084"/>
                  <a:pt x="672214" y="161041"/>
                </a:cubicBezTo>
                <a:cubicBezTo>
                  <a:pt x="667647" y="162753"/>
                  <a:pt x="654356" y="165118"/>
                  <a:pt x="654846" y="182323"/>
                </a:cubicBezTo>
                <a:cubicBezTo>
                  <a:pt x="655335" y="199527"/>
                  <a:pt x="670257" y="201321"/>
                  <a:pt x="676861" y="201647"/>
                </a:cubicBezTo>
                <a:cubicBezTo>
                  <a:pt x="684281" y="202544"/>
                  <a:pt x="690234" y="200017"/>
                  <a:pt x="696920" y="199201"/>
                </a:cubicBezTo>
                <a:cubicBezTo>
                  <a:pt x="696838" y="185503"/>
                  <a:pt x="696757" y="171804"/>
                  <a:pt x="696675" y="158105"/>
                </a:cubicBezTo>
                <a:close/>
                <a:moveTo>
                  <a:pt x="500770" y="107856"/>
                </a:moveTo>
                <a:cubicBezTo>
                  <a:pt x="498972" y="107847"/>
                  <a:pt x="497087" y="107959"/>
                  <a:pt x="495109" y="108203"/>
                </a:cubicBezTo>
                <a:lnTo>
                  <a:pt x="482389" y="109915"/>
                </a:lnTo>
                <a:lnTo>
                  <a:pt x="482389" y="200180"/>
                </a:lnTo>
                <a:cubicBezTo>
                  <a:pt x="487281" y="201485"/>
                  <a:pt x="493152" y="203768"/>
                  <a:pt x="500002" y="202626"/>
                </a:cubicBezTo>
                <a:cubicBezTo>
                  <a:pt x="532454" y="198549"/>
                  <a:pt x="535308" y="167075"/>
                  <a:pt x="534982" y="150767"/>
                </a:cubicBezTo>
                <a:cubicBezTo>
                  <a:pt x="534906" y="135402"/>
                  <a:pt x="527734" y="107997"/>
                  <a:pt x="500770" y="107856"/>
                </a:cubicBezTo>
                <a:close/>
                <a:moveTo>
                  <a:pt x="680839" y="74177"/>
                </a:moveTo>
                <a:cubicBezTo>
                  <a:pt x="687166" y="73934"/>
                  <a:pt x="693455" y="74024"/>
                  <a:pt x="699774" y="74527"/>
                </a:cubicBezTo>
                <a:cubicBezTo>
                  <a:pt x="728122" y="76049"/>
                  <a:pt x="743017" y="97875"/>
                  <a:pt x="742990" y="121657"/>
                </a:cubicBezTo>
                <a:lnTo>
                  <a:pt x="742990" y="230594"/>
                </a:lnTo>
                <a:lnTo>
                  <a:pt x="698632" y="230594"/>
                </a:lnTo>
                <a:lnTo>
                  <a:pt x="698632" y="219505"/>
                </a:lnTo>
                <a:cubicBezTo>
                  <a:pt x="688331" y="226055"/>
                  <a:pt x="673627" y="232850"/>
                  <a:pt x="652318" y="232551"/>
                </a:cubicBezTo>
                <a:cubicBezTo>
                  <a:pt x="621822" y="230947"/>
                  <a:pt x="609917" y="210019"/>
                  <a:pt x="609265" y="188846"/>
                </a:cubicBezTo>
                <a:cubicBezTo>
                  <a:pt x="607878" y="143781"/>
                  <a:pt x="641228" y="140792"/>
                  <a:pt x="654275" y="137313"/>
                </a:cubicBezTo>
                <a:cubicBezTo>
                  <a:pt x="670854" y="134160"/>
                  <a:pt x="684988" y="133698"/>
                  <a:pt x="696675" y="136660"/>
                </a:cubicBezTo>
                <a:lnTo>
                  <a:pt x="696675" y="119700"/>
                </a:lnTo>
                <a:cubicBezTo>
                  <a:pt x="696349" y="111519"/>
                  <a:pt x="688440" y="103093"/>
                  <a:pt x="675149" y="104697"/>
                </a:cubicBezTo>
                <a:cubicBezTo>
                  <a:pt x="653677" y="105213"/>
                  <a:pt x="639054" y="108176"/>
                  <a:pt x="621007" y="109915"/>
                </a:cubicBezTo>
                <a:lnTo>
                  <a:pt x="621007" y="83170"/>
                </a:lnTo>
                <a:cubicBezTo>
                  <a:pt x="642533" y="78624"/>
                  <a:pt x="661858" y="74904"/>
                  <a:pt x="680839" y="74177"/>
                </a:cubicBezTo>
                <a:close/>
                <a:moveTo>
                  <a:pt x="880629" y="73712"/>
                </a:moveTo>
                <a:cubicBezTo>
                  <a:pt x="896448" y="74690"/>
                  <a:pt x="906396" y="82029"/>
                  <a:pt x="911940" y="87655"/>
                </a:cubicBezTo>
                <a:cubicBezTo>
                  <a:pt x="927841" y="81050"/>
                  <a:pt x="965512" y="72733"/>
                  <a:pt x="981657" y="74446"/>
                </a:cubicBezTo>
                <a:cubicBezTo>
                  <a:pt x="1005629" y="78604"/>
                  <a:pt x="1016882" y="95972"/>
                  <a:pt x="1017616" y="117009"/>
                </a:cubicBezTo>
                <a:lnTo>
                  <a:pt x="1017616" y="77870"/>
                </a:lnTo>
                <a:lnTo>
                  <a:pt x="1017738" y="77870"/>
                </a:lnTo>
                <a:lnTo>
                  <a:pt x="1017738" y="116031"/>
                </a:lnTo>
                <a:lnTo>
                  <a:pt x="1017738" y="134377"/>
                </a:lnTo>
                <a:lnTo>
                  <a:pt x="1017738" y="230023"/>
                </a:lnTo>
                <a:lnTo>
                  <a:pt x="969670" y="230023"/>
                </a:lnTo>
                <a:lnTo>
                  <a:pt x="969670" y="148321"/>
                </a:lnTo>
                <a:lnTo>
                  <a:pt x="969879" y="148321"/>
                </a:lnTo>
                <a:cubicBezTo>
                  <a:pt x="969879" y="139922"/>
                  <a:pt x="969960" y="132339"/>
                  <a:pt x="969879" y="123125"/>
                </a:cubicBezTo>
                <a:cubicBezTo>
                  <a:pt x="969797" y="113911"/>
                  <a:pt x="959641" y="106898"/>
                  <a:pt x="949731" y="107225"/>
                </a:cubicBezTo>
                <a:cubicBezTo>
                  <a:pt x="940641" y="107714"/>
                  <a:pt x="931550" y="108448"/>
                  <a:pt x="922459" y="110160"/>
                </a:cubicBezTo>
                <a:lnTo>
                  <a:pt x="922615" y="134377"/>
                </a:lnTo>
                <a:lnTo>
                  <a:pt x="922581" y="134377"/>
                </a:lnTo>
                <a:lnTo>
                  <a:pt x="922581" y="230023"/>
                </a:lnTo>
                <a:lnTo>
                  <a:pt x="874024" y="230023"/>
                </a:lnTo>
                <a:lnTo>
                  <a:pt x="874024" y="134377"/>
                </a:lnTo>
                <a:lnTo>
                  <a:pt x="874015" y="134377"/>
                </a:lnTo>
                <a:lnTo>
                  <a:pt x="873989" y="123125"/>
                </a:lnTo>
                <a:cubicBezTo>
                  <a:pt x="873909" y="113911"/>
                  <a:pt x="864015" y="106898"/>
                  <a:pt x="854361" y="107225"/>
                </a:cubicBezTo>
                <a:cubicBezTo>
                  <a:pt x="845505" y="107714"/>
                  <a:pt x="836648" y="108448"/>
                  <a:pt x="827791" y="110160"/>
                </a:cubicBezTo>
                <a:cubicBezTo>
                  <a:pt x="827951" y="122880"/>
                  <a:pt x="827871" y="135600"/>
                  <a:pt x="828031" y="148321"/>
                </a:cubicBezTo>
                <a:lnTo>
                  <a:pt x="828036" y="148321"/>
                </a:lnTo>
                <a:lnTo>
                  <a:pt x="828036" y="230023"/>
                </a:lnTo>
                <a:lnTo>
                  <a:pt x="780824" y="230023"/>
                </a:lnTo>
                <a:lnTo>
                  <a:pt x="780824" y="77381"/>
                </a:lnTo>
                <a:lnTo>
                  <a:pt x="828036" y="77381"/>
                </a:lnTo>
                <a:lnTo>
                  <a:pt x="828036" y="77870"/>
                </a:lnTo>
                <a:lnTo>
                  <a:pt x="828036" y="86921"/>
                </a:lnTo>
                <a:cubicBezTo>
                  <a:pt x="849970" y="78604"/>
                  <a:pt x="859918" y="74201"/>
                  <a:pt x="880629" y="73712"/>
                </a:cubicBezTo>
                <a:close/>
                <a:moveTo>
                  <a:pt x="434444" y="326"/>
                </a:moveTo>
                <a:lnTo>
                  <a:pt x="482715" y="326"/>
                </a:lnTo>
                <a:lnTo>
                  <a:pt x="482715" y="85780"/>
                </a:lnTo>
                <a:cubicBezTo>
                  <a:pt x="493397" y="81621"/>
                  <a:pt x="507993" y="73304"/>
                  <a:pt x="525768" y="74038"/>
                </a:cubicBezTo>
                <a:cubicBezTo>
                  <a:pt x="560123" y="76348"/>
                  <a:pt x="583879" y="103365"/>
                  <a:pt x="583824" y="145793"/>
                </a:cubicBezTo>
                <a:cubicBezTo>
                  <a:pt x="583770" y="188221"/>
                  <a:pt x="565641" y="218390"/>
                  <a:pt x="523159" y="228637"/>
                </a:cubicBezTo>
                <a:cubicBezTo>
                  <a:pt x="480677" y="238884"/>
                  <a:pt x="464015" y="224288"/>
                  <a:pt x="434444" y="222114"/>
                </a:cubicBezTo>
                <a:close/>
                <a:moveTo>
                  <a:pt x="254241" y="0"/>
                </a:moveTo>
                <a:lnTo>
                  <a:pt x="322408" y="10111"/>
                </a:lnTo>
                <a:lnTo>
                  <a:pt x="301208" y="76484"/>
                </a:lnTo>
                <a:lnTo>
                  <a:pt x="371984" y="92140"/>
                </a:lnTo>
                <a:lnTo>
                  <a:pt x="233856" y="290281"/>
                </a:lnTo>
                <a:lnTo>
                  <a:pt x="132584" y="227659"/>
                </a:lnTo>
                <a:lnTo>
                  <a:pt x="95728" y="258970"/>
                </a:lnTo>
                <a:lnTo>
                  <a:pt x="90183" y="157535"/>
                </a:lnTo>
                <a:lnTo>
                  <a:pt x="0" y="113340"/>
                </a:lnTo>
                <a:lnTo>
                  <a:pt x="87574" y="74690"/>
                </a:lnTo>
                <a:lnTo>
                  <a:pt x="174984" y="104208"/>
                </a:lnTo>
                <a:lnTo>
                  <a:pt x="170418" y="154762"/>
                </a:lnTo>
                <a:lnTo>
                  <a:pt x="198957" y="167646"/>
                </a:lnTo>
                <a:lnTo>
                  <a:pt x="213634" y="79257"/>
                </a:lnTo>
                <a:lnTo>
                  <a:pt x="128017" y="56262"/>
                </a:lnTo>
                <a:lnTo>
                  <a:pt x="178735" y="34084"/>
                </a:lnTo>
                <a:lnTo>
                  <a:pt x="259786" y="49739"/>
                </a:lnTo>
                <a:lnTo>
                  <a:pt x="248696" y="98663"/>
                </a:lnTo>
                <a:lnTo>
                  <a:pt x="269897" y="104208"/>
                </a:lnTo>
                <a:lnTo>
                  <a:pt x="290118" y="30496"/>
                </a:lnTo>
                <a:lnTo>
                  <a:pt x="214613" y="1745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327212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686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682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060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367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5900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0037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851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5882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4747C9-BC61-45D7-B939-16F8E3B9B3E0}" type="datetimeFigureOut">
              <a:rPr lang="en-GB" smtClean="0"/>
              <a:t>13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DEA6D4-192D-40DF-B30A-9AEA63FC6F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363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5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Louise.John@fdean.gov.uk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3237" y="2770765"/>
            <a:ext cx="9144000" cy="1655762"/>
          </a:xfrm>
        </p:spPr>
        <p:txBody>
          <a:bodyPr>
            <a:normAutofit fontScale="92500" lnSpcReduction="2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700"/>
            </a:pPr>
            <a:r>
              <a:rPr lang="en-US" sz="4700" dirty="0">
                <a:solidFill>
                  <a:srgbClr val="FFAB40"/>
                </a:solidFill>
                <a:ea typeface="Calibri"/>
                <a:cs typeface="Calibri"/>
                <a:sym typeface="Calibri"/>
              </a:rPr>
              <a:t>Forest Economic Partnership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700"/>
            </a:pPr>
            <a:r>
              <a:rPr lang="en-US" sz="4700" dirty="0">
                <a:solidFill>
                  <a:srgbClr val="FFAB40"/>
                </a:solidFill>
                <a:ea typeface="Calibri"/>
                <a:cs typeface="Calibri"/>
                <a:sym typeface="Calibri"/>
              </a:rPr>
              <a:t>Stakeholder Meeting</a:t>
            </a:r>
          </a:p>
          <a:p>
            <a:r>
              <a:rPr lang="en-GB" dirty="0" smtClean="0">
                <a:solidFill>
                  <a:srgbClr val="999999"/>
                </a:solidFill>
                <a:ea typeface="Calibri"/>
                <a:cs typeface="Calibri"/>
                <a:sym typeface="Calibri"/>
              </a:rPr>
              <a:t>13 September 2023</a:t>
            </a:r>
            <a:endParaRPr lang="en-GB" dirty="0">
              <a:solidFill>
                <a:srgbClr val="999999"/>
              </a:solidFill>
              <a:ea typeface="Calibri"/>
              <a:cs typeface="Calibri"/>
              <a:sym typeface="Calibri"/>
            </a:endParaRPr>
          </a:p>
          <a:p>
            <a:endParaRPr lang="en-GB" dirty="0"/>
          </a:p>
        </p:txBody>
      </p:sp>
      <p:sp>
        <p:nvSpPr>
          <p:cNvPr id="5" name="Google Shape;270;p52"/>
          <p:cNvSpPr/>
          <p:nvPr/>
        </p:nvSpPr>
        <p:spPr>
          <a:xfrm>
            <a:off x="295564" y="231036"/>
            <a:ext cx="11563927" cy="6428382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6666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3782" y="815041"/>
            <a:ext cx="2281369" cy="1694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257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47F07F0-14B9-41C4-B4F3-5DFEB9819C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47F07F0-14B9-41C4-B4F3-5DFEB9819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ijdelijke aanduiding voor afbeelding 6" descr="Afbeelding met tekst, persoon&#10;&#10;Automatisch gegenereerde beschrijving">
            <a:extLst>
              <a:ext uri="{FF2B5EF4-FFF2-40B4-BE49-F238E27FC236}">
                <a16:creationId xmlns:a16="http://schemas.microsoft.com/office/drawing/2014/main" id="{A9FA5BC8-C1CF-4AD9-A197-A498B32E4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4D22D00D-8943-D366-0347-B5BC5B15A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0675" y="2890837"/>
            <a:ext cx="9010650" cy="1076325"/>
          </a:xfrm>
        </p:spPr>
        <p:txBody>
          <a:bodyPr/>
          <a:lstStyle/>
          <a:p>
            <a:r>
              <a:rPr lang="en-GB" sz="4400" dirty="0"/>
              <a:t>Meet The Buyer Event  </a:t>
            </a:r>
            <a:r>
              <a:rPr lang="en-GB" sz="2400" dirty="0"/>
              <a:t> </a:t>
            </a:r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1AFA8125-B19A-47B1-9E13-0762519F0FFF}"/>
              </a:ext>
            </a:extLst>
          </p:cNvPr>
          <p:cNvSpPr/>
          <p:nvPr/>
        </p:nvSpPr>
        <p:spPr>
          <a:xfrm>
            <a:off x="7377811" y="0"/>
            <a:ext cx="4814189" cy="6867524"/>
          </a:xfrm>
          <a:custGeom>
            <a:avLst/>
            <a:gdLst>
              <a:gd name="connsiteX0" fmla="*/ 3855339 w 4814189"/>
              <a:gd name="connsiteY0" fmla="*/ 657226 h 6867524"/>
              <a:gd name="connsiteX1" fmla="*/ 3855339 w 4814189"/>
              <a:gd name="connsiteY1" fmla="*/ 700315 h 6867524"/>
              <a:gd name="connsiteX2" fmla="*/ 3837559 w 4814189"/>
              <a:gd name="connsiteY2" fmla="*/ 704851 h 6867524"/>
              <a:gd name="connsiteX3" fmla="*/ 3810889 w 4814189"/>
              <a:gd name="connsiteY3" fmla="*/ 682173 h 6867524"/>
              <a:gd name="connsiteX4" fmla="*/ 3855339 w 4814189"/>
              <a:gd name="connsiteY4" fmla="*/ 657226 h 6867524"/>
              <a:gd name="connsiteX5" fmla="*/ 3656394 w 4814189"/>
              <a:gd name="connsiteY5" fmla="*/ 606608 h 6867524"/>
              <a:gd name="connsiteX6" fmla="*/ 3688652 w 4814189"/>
              <a:gd name="connsiteY6" fmla="*/ 655963 h 6867524"/>
              <a:gd name="connsiteX7" fmla="*/ 3645922 w 4814189"/>
              <a:gd name="connsiteY7" fmla="*/ 705143 h 6867524"/>
              <a:gd name="connsiteX8" fmla="*/ 3634677 w 4814189"/>
              <a:gd name="connsiteY8" fmla="*/ 702908 h 6867524"/>
              <a:gd name="connsiteX9" fmla="*/ 3634677 w 4814189"/>
              <a:gd name="connsiteY9" fmla="*/ 609018 h 6867524"/>
              <a:gd name="connsiteX10" fmla="*/ 3650420 w 4814189"/>
              <a:gd name="connsiteY10" fmla="*/ 606783 h 6867524"/>
              <a:gd name="connsiteX11" fmla="*/ 3656394 w 4814189"/>
              <a:gd name="connsiteY11" fmla="*/ 606608 h 6867524"/>
              <a:gd name="connsiteX12" fmla="*/ 3848394 w 4814189"/>
              <a:gd name="connsiteY12" fmla="*/ 574675 h 6867524"/>
              <a:gd name="connsiteX13" fmla="*/ 3780727 w 4814189"/>
              <a:gd name="connsiteY13" fmla="*/ 585723 h 6867524"/>
              <a:gd name="connsiteX14" fmla="*/ 3780727 w 4814189"/>
              <a:gd name="connsiteY14" fmla="*/ 610029 h 6867524"/>
              <a:gd name="connsiteX15" fmla="*/ 3826566 w 4814189"/>
              <a:gd name="connsiteY15" fmla="*/ 605610 h 6867524"/>
              <a:gd name="connsiteX16" fmla="*/ 3857125 w 4814189"/>
              <a:gd name="connsiteY16" fmla="*/ 621077 h 6867524"/>
              <a:gd name="connsiteX17" fmla="*/ 3857125 w 4814189"/>
              <a:gd name="connsiteY17" fmla="*/ 638755 h 6867524"/>
              <a:gd name="connsiteX18" fmla="*/ 3767630 w 4814189"/>
              <a:gd name="connsiteY18" fmla="*/ 689576 h 6867524"/>
              <a:gd name="connsiteX19" fmla="*/ 3815651 w 4814189"/>
              <a:gd name="connsiteY19" fmla="*/ 738188 h 6867524"/>
              <a:gd name="connsiteX20" fmla="*/ 3859308 w 4814189"/>
              <a:gd name="connsiteY20" fmla="*/ 724930 h 6867524"/>
              <a:gd name="connsiteX21" fmla="*/ 3859308 w 4814189"/>
              <a:gd name="connsiteY21" fmla="*/ 735978 h 6867524"/>
              <a:gd name="connsiteX22" fmla="*/ 3902964 w 4814189"/>
              <a:gd name="connsiteY22" fmla="*/ 735978 h 6867524"/>
              <a:gd name="connsiteX23" fmla="*/ 3902964 w 4814189"/>
              <a:gd name="connsiteY23" fmla="*/ 629916 h 6867524"/>
              <a:gd name="connsiteX24" fmla="*/ 3848394 w 4814189"/>
              <a:gd name="connsiteY24" fmla="*/ 574675 h 6867524"/>
              <a:gd name="connsiteX25" fmla="*/ 4041062 w 4814189"/>
              <a:gd name="connsiteY25" fmla="*/ 573088 h 6867524"/>
              <a:gd name="connsiteX26" fmla="*/ 3991063 w 4814189"/>
              <a:gd name="connsiteY26" fmla="*/ 586185 h 6867524"/>
              <a:gd name="connsiteX27" fmla="*/ 3991063 w 4814189"/>
              <a:gd name="connsiteY27" fmla="*/ 575271 h 6867524"/>
              <a:gd name="connsiteX28" fmla="*/ 3941064 w 4814189"/>
              <a:gd name="connsiteY28" fmla="*/ 575271 h 6867524"/>
              <a:gd name="connsiteX29" fmla="*/ 3941064 w 4814189"/>
              <a:gd name="connsiteY29" fmla="*/ 730250 h 6867524"/>
              <a:gd name="connsiteX30" fmla="*/ 3991063 w 4814189"/>
              <a:gd name="connsiteY30" fmla="*/ 730250 h 6867524"/>
              <a:gd name="connsiteX31" fmla="*/ 3991063 w 4814189"/>
              <a:gd name="connsiteY31" fmla="*/ 610196 h 6867524"/>
              <a:gd name="connsiteX32" fmla="*/ 4012802 w 4814189"/>
              <a:gd name="connsiteY32" fmla="*/ 608013 h 6867524"/>
              <a:gd name="connsiteX33" fmla="*/ 4036714 w 4814189"/>
              <a:gd name="connsiteY33" fmla="*/ 623293 h 6867524"/>
              <a:gd name="connsiteX34" fmla="*/ 4036714 w 4814189"/>
              <a:gd name="connsiteY34" fmla="*/ 730250 h 6867524"/>
              <a:gd name="connsiteX35" fmla="*/ 4086714 w 4814189"/>
              <a:gd name="connsiteY35" fmla="*/ 730250 h 6867524"/>
              <a:gd name="connsiteX36" fmla="*/ 4086714 w 4814189"/>
              <a:gd name="connsiteY36" fmla="*/ 621110 h 6867524"/>
              <a:gd name="connsiteX37" fmla="*/ 4084540 w 4814189"/>
              <a:gd name="connsiteY37" fmla="*/ 610196 h 6867524"/>
              <a:gd name="connsiteX38" fmla="*/ 4108452 w 4814189"/>
              <a:gd name="connsiteY38" fmla="*/ 608013 h 6867524"/>
              <a:gd name="connsiteX39" fmla="*/ 4132365 w 4814189"/>
              <a:gd name="connsiteY39" fmla="*/ 623293 h 6867524"/>
              <a:gd name="connsiteX40" fmla="*/ 4132365 w 4814189"/>
              <a:gd name="connsiteY40" fmla="*/ 730250 h 6867524"/>
              <a:gd name="connsiteX41" fmla="*/ 4182364 w 4814189"/>
              <a:gd name="connsiteY41" fmla="*/ 730250 h 6867524"/>
              <a:gd name="connsiteX42" fmla="*/ 4182364 w 4814189"/>
              <a:gd name="connsiteY42" fmla="*/ 621110 h 6867524"/>
              <a:gd name="connsiteX43" fmla="*/ 4136713 w 4814189"/>
              <a:gd name="connsiteY43" fmla="*/ 573088 h 6867524"/>
              <a:gd name="connsiteX44" fmla="*/ 4073670 w 4814189"/>
              <a:gd name="connsiteY44" fmla="*/ 586185 h 6867524"/>
              <a:gd name="connsiteX45" fmla="*/ 4041062 w 4814189"/>
              <a:gd name="connsiteY45" fmla="*/ 573088 h 6867524"/>
              <a:gd name="connsiteX46" fmla="*/ 3588639 w 4814189"/>
              <a:gd name="connsiteY46" fmla="*/ 500063 h 6867524"/>
              <a:gd name="connsiteX47" fmla="*/ 3588639 w 4814189"/>
              <a:gd name="connsiteY47" fmla="*/ 727164 h 6867524"/>
              <a:gd name="connsiteX48" fmla="*/ 3652434 w 4814189"/>
              <a:gd name="connsiteY48" fmla="*/ 738188 h 6867524"/>
              <a:gd name="connsiteX49" fmla="*/ 3742627 w 4814189"/>
              <a:gd name="connsiteY49" fmla="*/ 649994 h 6867524"/>
              <a:gd name="connsiteX50" fmla="*/ 3681032 w 4814189"/>
              <a:gd name="connsiteY50" fmla="*/ 575028 h 6867524"/>
              <a:gd name="connsiteX51" fmla="*/ 3639235 w 4814189"/>
              <a:gd name="connsiteY51" fmla="*/ 588258 h 6867524"/>
              <a:gd name="connsiteX52" fmla="*/ 3639235 w 4814189"/>
              <a:gd name="connsiteY52" fmla="*/ 500063 h 6867524"/>
              <a:gd name="connsiteX53" fmla="*/ 3588639 w 4814189"/>
              <a:gd name="connsiteY53" fmla="*/ 500063 h 6867524"/>
              <a:gd name="connsiteX54" fmla="*/ 3927179 w 4814189"/>
              <a:gd name="connsiteY54" fmla="*/ 0 h 6867524"/>
              <a:gd name="connsiteX55" fmla="*/ 4356989 w 4814189"/>
              <a:gd name="connsiteY55" fmla="*/ 1 h 6867524"/>
              <a:gd name="connsiteX56" fmla="*/ 4356989 w 4814189"/>
              <a:gd name="connsiteY56" fmla="*/ 0 h 6867524"/>
              <a:gd name="connsiteX57" fmla="*/ 4814189 w 4814189"/>
              <a:gd name="connsiteY57" fmla="*/ 0 h 6867524"/>
              <a:gd name="connsiteX58" fmla="*/ 4814189 w 4814189"/>
              <a:gd name="connsiteY58" fmla="*/ 6858000 h 6867524"/>
              <a:gd name="connsiteX59" fmla="*/ 4393184 w 4814189"/>
              <a:gd name="connsiteY59" fmla="*/ 6858000 h 6867524"/>
              <a:gd name="connsiteX60" fmla="*/ 4393184 w 4814189"/>
              <a:gd name="connsiteY60" fmla="*/ 6867524 h 6867524"/>
              <a:gd name="connsiteX61" fmla="*/ 1462191 w 4814189"/>
              <a:gd name="connsiteY61" fmla="*/ 6867524 h 6867524"/>
              <a:gd name="connsiteX62" fmla="*/ 0 w 4814189"/>
              <a:gd name="connsiteY62" fmla="*/ 5745131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814189" h="6867524">
                <a:moveTo>
                  <a:pt x="3855339" y="657226"/>
                </a:moveTo>
                <a:cubicBezTo>
                  <a:pt x="3855339" y="700315"/>
                  <a:pt x="3855339" y="700315"/>
                  <a:pt x="3855339" y="700315"/>
                </a:cubicBezTo>
                <a:cubicBezTo>
                  <a:pt x="3853117" y="702583"/>
                  <a:pt x="3846449" y="704851"/>
                  <a:pt x="3837559" y="704851"/>
                </a:cubicBezTo>
                <a:cubicBezTo>
                  <a:pt x="3822001" y="704851"/>
                  <a:pt x="3810889" y="698048"/>
                  <a:pt x="3810889" y="682173"/>
                </a:cubicBezTo>
                <a:cubicBezTo>
                  <a:pt x="3810889" y="668565"/>
                  <a:pt x="3817557" y="659494"/>
                  <a:pt x="3855339" y="657226"/>
                </a:cubicBezTo>
                <a:close/>
                <a:moveTo>
                  <a:pt x="3656394" y="606608"/>
                </a:moveTo>
                <a:cubicBezTo>
                  <a:pt x="3667146" y="607341"/>
                  <a:pt x="3688652" y="614048"/>
                  <a:pt x="3688652" y="655963"/>
                </a:cubicBezTo>
                <a:cubicBezTo>
                  <a:pt x="3688652" y="709614"/>
                  <a:pt x="3645922" y="705143"/>
                  <a:pt x="3645922" y="705143"/>
                </a:cubicBezTo>
                <a:cubicBezTo>
                  <a:pt x="3643673" y="705143"/>
                  <a:pt x="3636926" y="705143"/>
                  <a:pt x="3634677" y="702908"/>
                </a:cubicBezTo>
                <a:cubicBezTo>
                  <a:pt x="3634677" y="609018"/>
                  <a:pt x="3634677" y="609018"/>
                  <a:pt x="3634677" y="609018"/>
                </a:cubicBezTo>
                <a:cubicBezTo>
                  <a:pt x="3641424" y="606783"/>
                  <a:pt x="3650420" y="606783"/>
                  <a:pt x="3650420" y="606783"/>
                </a:cubicBezTo>
                <a:cubicBezTo>
                  <a:pt x="3650420" y="606783"/>
                  <a:pt x="3652809" y="606363"/>
                  <a:pt x="3656394" y="606608"/>
                </a:cubicBezTo>
                <a:close/>
                <a:moveTo>
                  <a:pt x="3848394" y="574675"/>
                </a:moveTo>
                <a:cubicBezTo>
                  <a:pt x="3820017" y="574675"/>
                  <a:pt x="3780727" y="585723"/>
                  <a:pt x="3780727" y="585723"/>
                </a:cubicBezTo>
                <a:cubicBezTo>
                  <a:pt x="3780727" y="610029"/>
                  <a:pt x="3780727" y="610029"/>
                  <a:pt x="3780727" y="610029"/>
                </a:cubicBezTo>
                <a:cubicBezTo>
                  <a:pt x="3780727" y="610029"/>
                  <a:pt x="3798189" y="607820"/>
                  <a:pt x="3826566" y="605610"/>
                </a:cubicBezTo>
                <a:cubicBezTo>
                  <a:pt x="3857125" y="603400"/>
                  <a:pt x="3857125" y="621077"/>
                  <a:pt x="3857125" y="621077"/>
                </a:cubicBezTo>
                <a:cubicBezTo>
                  <a:pt x="3857125" y="638755"/>
                  <a:pt x="3857125" y="638755"/>
                  <a:pt x="3857125" y="638755"/>
                </a:cubicBezTo>
                <a:cubicBezTo>
                  <a:pt x="3846211" y="636545"/>
                  <a:pt x="3763264" y="632126"/>
                  <a:pt x="3767630" y="689576"/>
                </a:cubicBezTo>
                <a:cubicBezTo>
                  <a:pt x="3767630" y="689576"/>
                  <a:pt x="3765447" y="738188"/>
                  <a:pt x="3815651" y="738188"/>
                </a:cubicBezTo>
                <a:cubicBezTo>
                  <a:pt x="3815651" y="738188"/>
                  <a:pt x="3837480" y="738188"/>
                  <a:pt x="3859308" y="724930"/>
                </a:cubicBezTo>
                <a:cubicBezTo>
                  <a:pt x="3859308" y="735978"/>
                  <a:pt x="3859308" y="735978"/>
                  <a:pt x="3859308" y="735978"/>
                </a:cubicBezTo>
                <a:cubicBezTo>
                  <a:pt x="3902964" y="735978"/>
                  <a:pt x="3902964" y="735978"/>
                  <a:pt x="3902964" y="735978"/>
                </a:cubicBezTo>
                <a:cubicBezTo>
                  <a:pt x="3902964" y="735978"/>
                  <a:pt x="3902964" y="676318"/>
                  <a:pt x="3902964" y="629916"/>
                </a:cubicBezTo>
                <a:cubicBezTo>
                  <a:pt x="3902964" y="583514"/>
                  <a:pt x="3874587" y="574675"/>
                  <a:pt x="3848394" y="574675"/>
                </a:cubicBezTo>
                <a:close/>
                <a:moveTo>
                  <a:pt x="4041062" y="573088"/>
                </a:moveTo>
                <a:cubicBezTo>
                  <a:pt x="4023671" y="573088"/>
                  <a:pt x="3999759" y="581819"/>
                  <a:pt x="3991063" y="586185"/>
                </a:cubicBezTo>
                <a:cubicBezTo>
                  <a:pt x="3991063" y="575271"/>
                  <a:pt x="3991063" y="575271"/>
                  <a:pt x="3991063" y="575271"/>
                </a:cubicBezTo>
                <a:cubicBezTo>
                  <a:pt x="3941064" y="575271"/>
                  <a:pt x="3941064" y="575271"/>
                  <a:pt x="3941064" y="575271"/>
                </a:cubicBezTo>
                <a:cubicBezTo>
                  <a:pt x="3941064" y="730250"/>
                  <a:pt x="3941064" y="730250"/>
                  <a:pt x="3941064" y="730250"/>
                </a:cubicBezTo>
                <a:cubicBezTo>
                  <a:pt x="3991063" y="730250"/>
                  <a:pt x="3991063" y="730250"/>
                  <a:pt x="3991063" y="730250"/>
                </a:cubicBezTo>
                <a:cubicBezTo>
                  <a:pt x="3991063" y="610196"/>
                  <a:pt x="3991063" y="610196"/>
                  <a:pt x="3991063" y="610196"/>
                </a:cubicBezTo>
                <a:cubicBezTo>
                  <a:pt x="3997585" y="608013"/>
                  <a:pt x="4012802" y="608013"/>
                  <a:pt x="4012802" y="608013"/>
                </a:cubicBezTo>
                <a:cubicBezTo>
                  <a:pt x="4038888" y="608013"/>
                  <a:pt x="4036714" y="623293"/>
                  <a:pt x="4036714" y="623293"/>
                </a:cubicBezTo>
                <a:cubicBezTo>
                  <a:pt x="4036714" y="730250"/>
                  <a:pt x="4036714" y="730250"/>
                  <a:pt x="4036714" y="730250"/>
                </a:cubicBezTo>
                <a:cubicBezTo>
                  <a:pt x="4086714" y="730250"/>
                  <a:pt x="4086714" y="730250"/>
                  <a:pt x="4086714" y="730250"/>
                </a:cubicBezTo>
                <a:cubicBezTo>
                  <a:pt x="4086714" y="730250"/>
                  <a:pt x="4086714" y="653852"/>
                  <a:pt x="4086714" y="621110"/>
                </a:cubicBezTo>
                <a:cubicBezTo>
                  <a:pt x="4086714" y="616744"/>
                  <a:pt x="4086714" y="612379"/>
                  <a:pt x="4084540" y="610196"/>
                </a:cubicBezTo>
                <a:cubicBezTo>
                  <a:pt x="4095409" y="608013"/>
                  <a:pt x="4108452" y="608013"/>
                  <a:pt x="4108452" y="608013"/>
                </a:cubicBezTo>
                <a:cubicBezTo>
                  <a:pt x="4134539" y="608013"/>
                  <a:pt x="4132365" y="623293"/>
                  <a:pt x="4132365" y="623293"/>
                </a:cubicBezTo>
                <a:cubicBezTo>
                  <a:pt x="4132365" y="730250"/>
                  <a:pt x="4132365" y="730250"/>
                  <a:pt x="4132365" y="730250"/>
                </a:cubicBezTo>
                <a:cubicBezTo>
                  <a:pt x="4182364" y="730250"/>
                  <a:pt x="4182364" y="730250"/>
                  <a:pt x="4182364" y="730250"/>
                </a:cubicBezTo>
                <a:cubicBezTo>
                  <a:pt x="4182364" y="730250"/>
                  <a:pt x="4182364" y="653852"/>
                  <a:pt x="4182364" y="621110"/>
                </a:cubicBezTo>
                <a:cubicBezTo>
                  <a:pt x="4182364" y="586185"/>
                  <a:pt x="4158451" y="573088"/>
                  <a:pt x="4136713" y="573088"/>
                </a:cubicBezTo>
                <a:cubicBezTo>
                  <a:pt x="4108452" y="573088"/>
                  <a:pt x="4080192" y="584002"/>
                  <a:pt x="4073670" y="586185"/>
                </a:cubicBezTo>
                <a:cubicBezTo>
                  <a:pt x="4064975" y="577454"/>
                  <a:pt x="4051932" y="573088"/>
                  <a:pt x="4041062" y="573088"/>
                </a:cubicBezTo>
                <a:close/>
                <a:moveTo>
                  <a:pt x="3588639" y="500063"/>
                </a:moveTo>
                <a:cubicBezTo>
                  <a:pt x="3588639" y="727164"/>
                  <a:pt x="3588639" y="727164"/>
                  <a:pt x="3588639" y="727164"/>
                </a:cubicBezTo>
                <a:cubicBezTo>
                  <a:pt x="3588639" y="727164"/>
                  <a:pt x="3623836" y="738188"/>
                  <a:pt x="3652434" y="738188"/>
                </a:cubicBezTo>
                <a:cubicBezTo>
                  <a:pt x="3681032" y="738188"/>
                  <a:pt x="3742627" y="724959"/>
                  <a:pt x="3742627" y="649994"/>
                </a:cubicBezTo>
                <a:cubicBezTo>
                  <a:pt x="3742627" y="575028"/>
                  <a:pt x="3683232" y="575028"/>
                  <a:pt x="3681032" y="575028"/>
                </a:cubicBezTo>
                <a:cubicBezTo>
                  <a:pt x="3678832" y="575028"/>
                  <a:pt x="3663433" y="575028"/>
                  <a:pt x="3639235" y="588258"/>
                </a:cubicBezTo>
                <a:cubicBezTo>
                  <a:pt x="3639235" y="500063"/>
                  <a:pt x="3639235" y="500063"/>
                  <a:pt x="3639235" y="500063"/>
                </a:cubicBezTo>
                <a:cubicBezTo>
                  <a:pt x="3588639" y="500063"/>
                  <a:pt x="3588639" y="500063"/>
                  <a:pt x="3588639" y="500063"/>
                </a:cubicBezTo>
                <a:close/>
                <a:moveTo>
                  <a:pt x="3927179" y="0"/>
                </a:moveTo>
                <a:lnTo>
                  <a:pt x="4356989" y="1"/>
                </a:lnTo>
                <a:lnTo>
                  <a:pt x="4356989" y="0"/>
                </a:lnTo>
                <a:lnTo>
                  <a:pt x="4814189" y="0"/>
                </a:lnTo>
                <a:lnTo>
                  <a:pt x="4814189" y="6858000"/>
                </a:lnTo>
                <a:lnTo>
                  <a:pt x="4393184" y="6858000"/>
                </a:lnTo>
                <a:lnTo>
                  <a:pt x="4393184" y="6867524"/>
                </a:lnTo>
                <a:lnTo>
                  <a:pt x="1462191" y="6867524"/>
                </a:lnTo>
                <a:lnTo>
                  <a:pt x="0" y="574513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nl-NL" dirty="0">
              <a:solidFill>
                <a:srgbClr val="248D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53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5ECBC80-56D7-4337-A41E-553BBF1E6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EFF1E97-3205-41D9-8E96-58AC43C9D7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is Meet the Buyer?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here will this event take place?</a:t>
            </a:r>
          </a:p>
          <a:p>
            <a:endParaRPr lang="en-US" dirty="0"/>
          </a:p>
          <a:p>
            <a:r>
              <a:rPr lang="en-US" dirty="0"/>
              <a:t>When will this take place?</a:t>
            </a:r>
          </a:p>
          <a:p>
            <a:endParaRPr lang="en-US" dirty="0"/>
          </a:p>
          <a:p>
            <a:r>
              <a:rPr lang="en-US" dirty="0"/>
              <a:t>Which local companies should attend?</a:t>
            </a:r>
          </a:p>
          <a:p>
            <a:endParaRPr lang="en-US" dirty="0"/>
          </a:p>
          <a:p>
            <a:r>
              <a:rPr lang="en-US" dirty="0"/>
              <a:t>Any other local stakeholder engagement?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D4F941-424A-9352-8584-BE0F90BF6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7508" y="993500"/>
            <a:ext cx="4419307" cy="26294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41B9C7-8928-331A-9E51-EDEBC7E75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9835" y="3872501"/>
            <a:ext cx="4396980" cy="2317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1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47F07F0-14B9-41C4-B4F3-5DFEB9819C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47F07F0-14B9-41C4-B4F3-5DFEB9819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ijdelijke aanduiding voor afbeelding 6" descr="Afbeelding met tekst, persoon&#10;&#10;Automatisch gegenereerde beschrijving">
            <a:extLst>
              <a:ext uri="{FF2B5EF4-FFF2-40B4-BE49-F238E27FC236}">
                <a16:creationId xmlns:a16="http://schemas.microsoft.com/office/drawing/2014/main" id="{A9FA5BC8-C1CF-4AD9-A197-A498B32E4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4D22D00D-8943-D366-0347-B5BC5B15A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0675" y="2890837"/>
            <a:ext cx="9010650" cy="1076325"/>
          </a:xfrm>
        </p:spPr>
        <p:txBody>
          <a:bodyPr/>
          <a:lstStyle/>
          <a:p>
            <a:r>
              <a:rPr lang="en-GB" sz="4400" dirty="0"/>
              <a:t>Any Questions?   </a:t>
            </a:r>
            <a:r>
              <a:rPr lang="en-GB" sz="2400" dirty="0"/>
              <a:t> </a:t>
            </a:r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1AFA8125-B19A-47B1-9E13-0762519F0FFF}"/>
              </a:ext>
            </a:extLst>
          </p:cNvPr>
          <p:cNvSpPr/>
          <p:nvPr/>
        </p:nvSpPr>
        <p:spPr>
          <a:xfrm>
            <a:off x="7377811" y="0"/>
            <a:ext cx="4814189" cy="6867524"/>
          </a:xfrm>
          <a:custGeom>
            <a:avLst/>
            <a:gdLst>
              <a:gd name="connsiteX0" fmla="*/ 3855339 w 4814189"/>
              <a:gd name="connsiteY0" fmla="*/ 657226 h 6867524"/>
              <a:gd name="connsiteX1" fmla="*/ 3855339 w 4814189"/>
              <a:gd name="connsiteY1" fmla="*/ 700315 h 6867524"/>
              <a:gd name="connsiteX2" fmla="*/ 3837559 w 4814189"/>
              <a:gd name="connsiteY2" fmla="*/ 704851 h 6867524"/>
              <a:gd name="connsiteX3" fmla="*/ 3810889 w 4814189"/>
              <a:gd name="connsiteY3" fmla="*/ 682173 h 6867524"/>
              <a:gd name="connsiteX4" fmla="*/ 3855339 w 4814189"/>
              <a:gd name="connsiteY4" fmla="*/ 657226 h 6867524"/>
              <a:gd name="connsiteX5" fmla="*/ 3656394 w 4814189"/>
              <a:gd name="connsiteY5" fmla="*/ 606608 h 6867524"/>
              <a:gd name="connsiteX6" fmla="*/ 3688652 w 4814189"/>
              <a:gd name="connsiteY6" fmla="*/ 655963 h 6867524"/>
              <a:gd name="connsiteX7" fmla="*/ 3645922 w 4814189"/>
              <a:gd name="connsiteY7" fmla="*/ 705143 h 6867524"/>
              <a:gd name="connsiteX8" fmla="*/ 3634677 w 4814189"/>
              <a:gd name="connsiteY8" fmla="*/ 702908 h 6867524"/>
              <a:gd name="connsiteX9" fmla="*/ 3634677 w 4814189"/>
              <a:gd name="connsiteY9" fmla="*/ 609018 h 6867524"/>
              <a:gd name="connsiteX10" fmla="*/ 3650420 w 4814189"/>
              <a:gd name="connsiteY10" fmla="*/ 606783 h 6867524"/>
              <a:gd name="connsiteX11" fmla="*/ 3656394 w 4814189"/>
              <a:gd name="connsiteY11" fmla="*/ 606608 h 6867524"/>
              <a:gd name="connsiteX12" fmla="*/ 3848394 w 4814189"/>
              <a:gd name="connsiteY12" fmla="*/ 574675 h 6867524"/>
              <a:gd name="connsiteX13" fmla="*/ 3780727 w 4814189"/>
              <a:gd name="connsiteY13" fmla="*/ 585723 h 6867524"/>
              <a:gd name="connsiteX14" fmla="*/ 3780727 w 4814189"/>
              <a:gd name="connsiteY14" fmla="*/ 610029 h 6867524"/>
              <a:gd name="connsiteX15" fmla="*/ 3826566 w 4814189"/>
              <a:gd name="connsiteY15" fmla="*/ 605610 h 6867524"/>
              <a:gd name="connsiteX16" fmla="*/ 3857125 w 4814189"/>
              <a:gd name="connsiteY16" fmla="*/ 621077 h 6867524"/>
              <a:gd name="connsiteX17" fmla="*/ 3857125 w 4814189"/>
              <a:gd name="connsiteY17" fmla="*/ 638755 h 6867524"/>
              <a:gd name="connsiteX18" fmla="*/ 3767630 w 4814189"/>
              <a:gd name="connsiteY18" fmla="*/ 689576 h 6867524"/>
              <a:gd name="connsiteX19" fmla="*/ 3815651 w 4814189"/>
              <a:gd name="connsiteY19" fmla="*/ 738188 h 6867524"/>
              <a:gd name="connsiteX20" fmla="*/ 3859308 w 4814189"/>
              <a:gd name="connsiteY20" fmla="*/ 724930 h 6867524"/>
              <a:gd name="connsiteX21" fmla="*/ 3859308 w 4814189"/>
              <a:gd name="connsiteY21" fmla="*/ 735978 h 6867524"/>
              <a:gd name="connsiteX22" fmla="*/ 3902964 w 4814189"/>
              <a:gd name="connsiteY22" fmla="*/ 735978 h 6867524"/>
              <a:gd name="connsiteX23" fmla="*/ 3902964 w 4814189"/>
              <a:gd name="connsiteY23" fmla="*/ 629916 h 6867524"/>
              <a:gd name="connsiteX24" fmla="*/ 3848394 w 4814189"/>
              <a:gd name="connsiteY24" fmla="*/ 574675 h 6867524"/>
              <a:gd name="connsiteX25" fmla="*/ 4041062 w 4814189"/>
              <a:gd name="connsiteY25" fmla="*/ 573088 h 6867524"/>
              <a:gd name="connsiteX26" fmla="*/ 3991063 w 4814189"/>
              <a:gd name="connsiteY26" fmla="*/ 586185 h 6867524"/>
              <a:gd name="connsiteX27" fmla="*/ 3991063 w 4814189"/>
              <a:gd name="connsiteY27" fmla="*/ 575271 h 6867524"/>
              <a:gd name="connsiteX28" fmla="*/ 3941064 w 4814189"/>
              <a:gd name="connsiteY28" fmla="*/ 575271 h 6867524"/>
              <a:gd name="connsiteX29" fmla="*/ 3941064 w 4814189"/>
              <a:gd name="connsiteY29" fmla="*/ 730250 h 6867524"/>
              <a:gd name="connsiteX30" fmla="*/ 3991063 w 4814189"/>
              <a:gd name="connsiteY30" fmla="*/ 730250 h 6867524"/>
              <a:gd name="connsiteX31" fmla="*/ 3991063 w 4814189"/>
              <a:gd name="connsiteY31" fmla="*/ 610196 h 6867524"/>
              <a:gd name="connsiteX32" fmla="*/ 4012802 w 4814189"/>
              <a:gd name="connsiteY32" fmla="*/ 608013 h 6867524"/>
              <a:gd name="connsiteX33" fmla="*/ 4036714 w 4814189"/>
              <a:gd name="connsiteY33" fmla="*/ 623293 h 6867524"/>
              <a:gd name="connsiteX34" fmla="*/ 4036714 w 4814189"/>
              <a:gd name="connsiteY34" fmla="*/ 730250 h 6867524"/>
              <a:gd name="connsiteX35" fmla="*/ 4086714 w 4814189"/>
              <a:gd name="connsiteY35" fmla="*/ 730250 h 6867524"/>
              <a:gd name="connsiteX36" fmla="*/ 4086714 w 4814189"/>
              <a:gd name="connsiteY36" fmla="*/ 621110 h 6867524"/>
              <a:gd name="connsiteX37" fmla="*/ 4084540 w 4814189"/>
              <a:gd name="connsiteY37" fmla="*/ 610196 h 6867524"/>
              <a:gd name="connsiteX38" fmla="*/ 4108452 w 4814189"/>
              <a:gd name="connsiteY38" fmla="*/ 608013 h 6867524"/>
              <a:gd name="connsiteX39" fmla="*/ 4132365 w 4814189"/>
              <a:gd name="connsiteY39" fmla="*/ 623293 h 6867524"/>
              <a:gd name="connsiteX40" fmla="*/ 4132365 w 4814189"/>
              <a:gd name="connsiteY40" fmla="*/ 730250 h 6867524"/>
              <a:gd name="connsiteX41" fmla="*/ 4182364 w 4814189"/>
              <a:gd name="connsiteY41" fmla="*/ 730250 h 6867524"/>
              <a:gd name="connsiteX42" fmla="*/ 4182364 w 4814189"/>
              <a:gd name="connsiteY42" fmla="*/ 621110 h 6867524"/>
              <a:gd name="connsiteX43" fmla="*/ 4136713 w 4814189"/>
              <a:gd name="connsiteY43" fmla="*/ 573088 h 6867524"/>
              <a:gd name="connsiteX44" fmla="*/ 4073670 w 4814189"/>
              <a:gd name="connsiteY44" fmla="*/ 586185 h 6867524"/>
              <a:gd name="connsiteX45" fmla="*/ 4041062 w 4814189"/>
              <a:gd name="connsiteY45" fmla="*/ 573088 h 6867524"/>
              <a:gd name="connsiteX46" fmla="*/ 3588639 w 4814189"/>
              <a:gd name="connsiteY46" fmla="*/ 500063 h 6867524"/>
              <a:gd name="connsiteX47" fmla="*/ 3588639 w 4814189"/>
              <a:gd name="connsiteY47" fmla="*/ 727164 h 6867524"/>
              <a:gd name="connsiteX48" fmla="*/ 3652434 w 4814189"/>
              <a:gd name="connsiteY48" fmla="*/ 738188 h 6867524"/>
              <a:gd name="connsiteX49" fmla="*/ 3742627 w 4814189"/>
              <a:gd name="connsiteY49" fmla="*/ 649994 h 6867524"/>
              <a:gd name="connsiteX50" fmla="*/ 3681032 w 4814189"/>
              <a:gd name="connsiteY50" fmla="*/ 575028 h 6867524"/>
              <a:gd name="connsiteX51" fmla="*/ 3639235 w 4814189"/>
              <a:gd name="connsiteY51" fmla="*/ 588258 h 6867524"/>
              <a:gd name="connsiteX52" fmla="*/ 3639235 w 4814189"/>
              <a:gd name="connsiteY52" fmla="*/ 500063 h 6867524"/>
              <a:gd name="connsiteX53" fmla="*/ 3588639 w 4814189"/>
              <a:gd name="connsiteY53" fmla="*/ 500063 h 6867524"/>
              <a:gd name="connsiteX54" fmla="*/ 3927179 w 4814189"/>
              <a:gd name="connsiteY54" fmla="*/ 0 h 6867524"/>
              <a:gd name="connsiteX55" fmla="*/ 4356989 w 4814189"/>
              <a:gd name="connsiteY55" fmla="*/ 1 h 6867524"/>
              <a:gd name="connsiteX56" fmla="*/ 4356989 w 4814189"/>
              <a:gd name="connsiteY56" fmla="*/ 0 h 6867524"/>
              <a:gd name="connsiteX57" fmla="*/ 4814189 w 4814189"/>
              <a:gd name="connsiteY57" fmla="*/ 0 h 6867524"/>
              <a:gd name="connsiteX58" fmla="*/ 4814189 w 4814189"/>
              <a:gd name="connsiteY58" fmla="*/ 6858000 h 6867524"/>
              <a:gd name="connsiteX59" fmla="*/ 4393184 w 4814189"/>
              <a:gd name="connsiteY59" fmla="*/ 6858000 h 6867524"/>
              <a:gd name="connsiteX60" fmla="*/ 4393184 w 4814189"/>
              <a:gd name="connsiteY60" fmla="*/ 6867524 h 6867524"/>
              <a:gd name="connsiteX61" fmla="*/ 1462191 w 4814189"/>
              <a:gd name="connsiteY61" fmla="*/ 6867524 h 6867524"/>
              <a:gd name="connsiteX62" fmla="*/ 0 w 4814189"/>
              <a:gd name="connsiteY62" fmla="*/ 5745131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814189" h="6867524">
                <a:moveTo>
                  <a:pt x="3855339" y="657226"/>
                </a:moveTo>
                <a:cubicBezTo>
                  <a:pt x="3855339" y="700315"/>
                  <a:pt x="3855339" y="700315"/>
                  <a:pt x="3855339" y="700315"/>
                </a:cubicBezTo>
                <a:cubicBezTo>
                  <a:pt x="3853117" y="702583"/>
                  <a:pt x="3846449" y="704851"/>
                  <a:pt x="3837559" y="704851"/>
                </a:cubicBezTo>
                <a:cubicBezTo>
                  <a:pt x="3822001" y="704851"/>
                  <a:pt x="3810889" y="698048"/>
                  <a:pt x="3810889" y="682173"/>
                </a:cubicBezTo>
                <a:cubicBezTo>
                  <a:pt x="3810889" y="668565"/>
                  <a:pt x="3817557" y="659494"/>
                  <a:pt x="3855339" y="657226"/>
                </a:cubicBezTo>
                <a:close/>
                <a:moveTo>
                  <a:pt x="3656394" y="606608"/>
                </a:moveTo>
                <a:cubicBezTo>
                  <a:pt x="3667146" y="607341"/>
                  <a:pt x="3688652" y="614048"/>
                  <a:pt x="3688652" y="655963"/>
                </a:cubicBezTo>
                <a:cubicBezTo>
                  <a:pt x="3688652" y="709614"/>
                  <a:pt x="3645922" y="705143"/>
                  <a:pt x="3645922" y="705143"/>
                </a:cubicBezTo>
                <a:cubicBezTo>
                  <a:pt x="3643673" y="705143"/>
                  <a:pt x="3636926" y="705143"/>
                  <a:pt x="3634677" y="702908"/>
                </a:cubicBezTo>
                <a:cubicBezTo>
                  <a:pt x="3634677" y="609018"/>
                  <a:pt x="3634677" y="609018"/>
                  <a:pt x="3634677" y="609018"/>
                </a:cubicBezTo>
                <a:cubicBezTo>
                  <a:pt x="3641424" y="606783"/>
                  <a:pt x="3650420" y="606783"/>
                  <a:pt x="3650420" y="606783"/>
                </a:cubicBezTo>
                <a:cubicBezTo>
                  <a:pt x="3650420" y="606783"/>
                  <a:pt x="3652809" y="606363"/>
                  <a:pt x="3656394" y="606608"/>
                </a:cubicBezTo>
                <a:close/>
                <a:moveTo>
                  <a:pt x="3848394" y="574675"/>
                </a:moveTo>
                <a:cubicBezTo>
                  <a:pt x="3820017" y="574675"/>
                  <a:pt x="3780727" y="585723"/>
                  <a:pt x="3780727" y="585723"/>
                </a:cubicBezTo>
                <a:cubicBezTo>
                  <a:pt x="3780727" y="610029"/>
                  <a:pt x="3780727" y="610029"/>
                  <a:pt x="3780727" y="610029"/>
                </a:cubicBezTo>
                <a:cubicBezTo>
                  <a:pt x="3780727" y="610029"/>
                  <a:pt x="3798189" y="607820"/>
                  <a:pt x="3826566" y="605610"/>
                </a:cubicBezTo>
                <a:cubicBezTo>
                  <a:pt x="3857125" y="603400"/>
                  <a:pt x="3857125" y="621077"/>
                  <a:pt x="3857125" y="621077"/>
                </a:cubicBezTo>
                <a:cubicBezTo>
                  <a:pt x="3857125" y="638755"/>
                  <a:pt x="3857125" y="638755"/>
                  <a:pt x="3857125" y="638755"/>
                </a:cubicBezTo>
                <a:cubicBezTo>
                  <a:pt x="3846211" y="636545"/>
                  <a:pt x="3763264" y="632126"/>
                  <a:pt x="3767630" y="689576"/>
                </a:cubicBezTo>
                <a:cubicBezTo>
                  <a:pt x="3767630" y="689576"/>
                  <a:pt x="3765447" y="738188"/>
                  <a:pt x="3815651" y="738188"/>
                </a:cubicBezTo>
                <a:cubicBezTo>
                  <a:pt x="3815651" y="738188"/>
                  <a:pt x="3837480" y="738188"/>
                  <a:pt x="3859308" y="724930"/>
                </a:cubicBezTo>
                <a:cubicBezTo>
                  <a:pt x="3859308" y="735978"/>
                  <a:pt x="3859308" y="735978"/>
                  <a:pt x="3859308" y="735978"/>
                </a:cubicBezTo>
                <a:cubicBezTo>
                  <a:pt x="3902964" y="735978"/>
                  <a:pt x="3902964" y="735978"/>
                  <a:pt x="3902964" y="735978"/>
                </a:cubicBezTo>
                <a:cubicBezTo>
                  <a:pt x="3902964" y="735978"/>
                  <a:pt x="3902964" y="676318"/>
                  <a:pt x="3902964" y="629916"/>
                </a:cubicBezTo>
                <a:cubicBezTo>
                  <a:pt x="3902964" y="583514"/>
                  <a:pt x="3874587" y="574675"/>
                  <a:pt x="3848394" y="574675"/>
                </a:cubicBezTo>
                <a:close/>
                <a:moveTo>
                  <a:pt x="4041062" y="573088"/>
                </a:moveTo>
                <a:cubicBezTo>
                  <a:pt x="4023671" y="573088"/>
                  <a:pt x="3999759" y="581819"/>
                  <a:pt x="3991063" y="586185"/>
                </a:cubicBezTo>
                <a:cubicBezTo>
                  <a:pt x="3991063" y="575271"/>
                  <a:pt x="3991063" y="575271"/>
                  <a:pt x="3991063" y="575271"/>
                </a:cubicBezTo>
                <a:cubicBezTo>
                  <a:pt x="3941064" y="575271"/>
                  <a:pt x="3941064" y="575271"/>
                  <a:pt x="3941064" y="575271"/>
                </a:cubicBezTo>
                <a:cubicBezTo>
                  <a:pt x="3941064" y="730250"/>
                  <a:pt x="3941064" y="730250"/>
                  <a:pt x="3941064" y="730250"/>
                </a:cubicBezTo>
                <a:cubicBezTo>
                  <a:pt x="3991063" y="730250"/>
                  <a:pt x="3991063" y="730250"/>
                  <a:pt x="3991063" y="730250"/>
                </a:cubicBezTo>
                <a:cubicBezTo>
                  <a:pt x="3991063" y="610196"/>
                  <a:pt x="3991063" y="610196"/>
                  <a:pt x="3991063" y="610196"/>
                </a:cubicBezTo>
                <a:cubicBezTo>
                  <a:pt x="3997585" y="608013"/>
                  <a:pt x="4012802" y="608013"/>
                  <a:pt x="4012802" y="608013"/>
                </a:cubicBezTo>
                <a:cubicBezTo>
                  <a:pt x="4038888" y="608013"/>
                  <a:pt x="4036714" y="623293"/>
                  <a:pt x="4036714" y="623293"/>
                </a:cubicBezTo>
                <a:cubicBezTo>
                  <a:pt x="4036714" y="730250"/>
                  <a:pt x="4036714" y="730250"/>
                  <a:pt x="4036714" y="730250"/>
                </a:cubicBezTo>
                <a:cubicBezTo>
                  <a:pt x="4086714" y="730250"/>
                  <a:pt x="4086714" y="730250"/>
                  <a:pt x="4086714" y="730250"/>
                </a:cubicBezTo>
                <a:cubicBezTo>
                  <a:pt x="4086714" y="730250"/>
                  <a:pt x="4086714" y="653852"/>
                  <a:pt x="4086714" y="621110"/>
                </a:cubicBezTo>
                <a:cubicBezTo>
                  <a:pt x="4086714" y="616744"/>
                  <a:pt x="4086714" y="612379"/>
                  <a:pt x="4084540" y="610196"/>
                </a:cubicBezTo>
                <a:cubicBezTo>
                  <a:pt x="4095409" y="608013"/>
                  <a:pt x="4108452" y="608013"/>
                  <a:pt x="4108452" y="608013"/>
                </a:cubicBezTo>
                <a:cubicBezTo>
                  <a:pt x="4134539" y="608013"/>
                  <a:pt x="4132365" y="623293"/>
                  <a:pt x="4132365" y="623293"/>
                </a:cubicBezTo>
                <a:cubicBezTo>
                  <a:pt x="4132365" y="730250"/>
                  <a:pt x="4132365" y="730250"/>
                  <a:pt x="4132365" y="730250"/>
                </a:cubicBezTo>
                <a:cubicBezTo>
                  <a:pt x="4182364" y="730250"/>
                  <a:pt x="4182364" y="730250"/>
                  <a:pt x="4182364" y="730250"/>
                </a:cubicBezTo>
                <a:cubicBezTo>
                  <a:pt x="4182364" y="730250"/>
                  <a:pt x="4182364" y="653852"/>
                  <a:pt x="4182364" y="621110"/>
                </a:cubicBezTo>
                <a:cubicBezTo>
                  <a:pt x="4182364" y="586185"/>
                  <a:pt x="4158451" y="573088"/>
                  <a:pt x="4136713" y="573088"/>
                </a:cubicBezTo>
                <a:cubicBezTo>
                  <a:pt x="4108452" y="573088"/>
                  <a:pt x="4080192" y="584002"/>
                  <a:pt x="4073670" y="586185"/>
                </a:cubicBezTo>
                <a:cubicBezTo>
                  <a:pt x="4064975" y="577454"/>
                  <a:pt x="4051932" y="573088"/>
                  <a:pt x="4041062" y="573088"/>
                </a:cubicBezTo>
                <a:close/>
                <a:moveTo>
                  <a:pt x="3588639" y="500063"/>
                </a:moveTo>
                <a:cubicBezTo>
                  <a:pt x="3588639" y="727164"/>
                  <a:pt x="3588639" y="727164"/>
                  <a:pt x="3588639" y="727164"/>
                </a:cubicBezTo>
                <a:cubicBezTo>
                  <a:pt x="3588639" y="727164"/>
                  <a:pt x="3623836" y="738188"/>
                  <a:pt x="3652434" y="738188"/>
                </a:cubicBezTo>
                <a:cubicBezTo>
                  <a:pt x="3681032" y="738188"/>
                  <a:pt x="3742627" y="724959"/>
                  <a:pt x="3742627" y="649994"/>
                </a:cubicBezTo>
                <a:cubicBezTo>
                  <a:pt x="3742627" y="575028"/>
                  <a:pt x="3683232" y="575028"/>
                  <a:pt x="3681032" y="575028"/>
                </a:cubicBezTo>
                <a:cubicBezTo>
                  <a:pt x="3678832" y="575028"/>
                  <a:pt x="3663433" y="575028"/>
                  <a:pt x="3639235" y="588258"/>
                </a:cubicBezTo>
                <a:cubicBezTo>
                  <a:pt x="3639235" y="500063"/>
                  <a:pt x="3639235" y="500063"/>
                  <a:pt x="3639235" y="500063"/>
                </a:cubicBezTo>
                <a:cubicBezTo>
                  <a:pt x="3588639" y="500063"/>
                  <a:pt x="3588639" y="500063"/>
                  <a:pt x="3588639" y="500063"/>
                </a:cubicBezTo>
                <a:close/>
                <a:moveTo>
                  <a:pt x="3927179" y="0"/>
                </a:moveTo>
                <a:lnTo>
                  <a:pt x="4356989" y="1"/>
                </a:lnTo>
                <a:lnTo>
                  <a:pt x="4356989" y="0"/>
                </a:lnTo>
                <a:lnTo>
                  <a:pt x="4814189" y="0"/>
                </a:lnTo>
                <a:lnTo>
                  <a:pt x="4814189" y="6858000"/>
                </a:lnTo>
                <a:lnTo>
                  <a:pt x="4393184" y="6858000"/>
                </a:lnTo>
                <a:lnTo>
                  <a:pt x="4393184" y="6867524"/>
                </a:lnTo>
                <a:lnTo>
                  <a:pt x="1462191" y="6867524"/>
                </a:lnTo>
                <a:lnTo>
                  <a:pt x="0" y="574513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nl-NL" dirty="0">
              <a:solidFill>
                <a:srgbClr val="248D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869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21240" y="2024009"/>
            <a:ext cx="11260477" cy="2120595"/>
            <a:chOff x="327769" y="160180"/>
            <a:chExt cx="11351736" cy="1267603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7769" y="160180"/>
              <a:ext cx="11351736" cy="1173019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1163905" y="350565"/>
              <a:ext cx="105156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200" b="1" dirty="0" smtClean="0">
                  <a:solidFill>
                    <a:schemeClr val="bg1"/>
                  </a:solidFill>
                </a:rPr>
                <a:t>Rural England Prosperity Fund (REPF)</a:t>
              </a:r>
            </a:p>
            <a:p>
              <a:r>
                <a:rPr lang="en-GB" sz="3200" b="1" dirty="0" smtClean="0">
                  <a:solidFill>
                    <a:schemeClr val="bg1"/>
                  </a:solidFill>
                </a:rPr>
                <a:t>Rural Business Grants, Louise John and Ant Parsons</a:t>
              </a:r>
              <a:endParaRPr lang="en-GB" sz="3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621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>
          <a:xfrm>
            <a:off x="327769" y="221595"/>
            <a:ext cx="11351736" cy="1173019"/>
            <a:chOff x="327769" y="221595"/>
            <a:chExt cx="11351736" cy="117301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7769" y="221595"/>
              <a:ext cx="11351736" cy="1173019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745837" y="221595"/>
              <a:ext cx="105156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200" b="1" dirty="0" smtClean="0">
                  <a:solidFill>
                    <a:schemeClr val="bg1"/>
                  </a:solidFill>
                </a:rPr>
                <a:t>Rural England Prosperity Fund (REPF)</a:t>
              </a:r>
            </a:p>
            <a:p>
              <a:r>
                <a:rPr lang="en-GB" sz="3200" b="1" dirty="0" smtClean="0">
                  <a:solidFill>
                    <a:schemeClr val="bg1"/>
                  </a:solidFill>
                </a:rPr>
                <a:t>Rural Business Grants, Louise John and Ant Parsons</a:t>
              </a:r>
              <a:endParaRPr lang="en-GB" sz="32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534886"/>
              </p:ext>
            </p:extLst>
          </p:nvPr>
        </p:nvGraphicFramePr>
        <p:xfrm>
          <a:off x="497986" y="1463040"/>
          <a:ext cx="11011302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741">
                  <a:extLst>
                    <a:ext uri="{9D8B030D-6E8A-4147-A177-3AD203B41FA5}">
                      <a16:colId xmlns:a16="http://schemas.microsoft.com/office/drawing/2014/main" val="3550529381"/>
                    </a:ext>
                  </a:extLst>
                </a:gridCol>
                <a:gridCol w="4523864">
                  <a:extLst>
                    <a:ext uri="{9D8B030D-6E8A-4147-A177-3AD203B41FA5}">
                      <a16:colId xmlns:a16="http://schemas.microsoft.com/office/drawing/2014/main" val="3568666181"/>
                    </a:ext>
                  </a:extLst>
                </a:gridCol>
                <a:gridCol w="3415697">
                  <a:extLst>
                    <a:ext uri="{9D8B030D-6E8A-4147-A177-3AD203B41FA5}">
                      <a16:colId xmlns:a16="http://schemas.microsoft.com/office/drawing/2014/main" val="42442063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1.</a:t>
                      </a:r>
                      <a:r>
                        <a:rPr lang="en-GB" baseline="0" dirty="0" smtClean="0"/>
                        <a:t> </a:t>
                      </a:r>
                      <a:r>
                        <a:rPr lang="en-GB" sz="1800" b="1" dirty="0" smtClean="0">
                          <a:solidFill>
                            <a:schemeClr val="lt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unding Offer</a:t>
                      </a:r>
                    </a:p>
                    <a:p>
                      <a:endParaRPr lang="en-GB" dirty="0"/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 smtClean="0">
                          <a:solidFill>
                            <a:schemeClr val="lt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2.</a:t>
                      </a:r>
                      <a:r>
                        <a:rPr lang="en-GB" sz="1800" b="1" baseline="0" dirty="0" smtClean="0">
                          <a:solidFill>
                            <a:schemeClr val="lt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 </a:t>
                      </a:r>
                      <a:r>
                        <a:rPr lang="en-GB" sz="1800" b="1" dirty="0" smtClean="0">
                          <a:solidFill>
                            <a:schemeClr val="lt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unding Criteria</a:t>
                      </a:r>
                      <a:endParaRPr lang="en-GB" dirty="0" smtClean="0">
                        <a:solidFill>
                          <a:schemeClr val="lt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endParaRPr lang="en-GB" dirty="0"/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 smtClean="0">
                          <a:solidFill>
                            <a:schemeClr val="lt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3.Timeline</a:t>
                      </a:r>
                    </a:p>
                    <a:p>
                      <a:endParaRPr lang="en-GB" dirty="0"/>
                    </a:p>
                  </a:txBody>
                  <a:tcPr>
                    <a:solidFill>
                      <a:srgbClr val="FF99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12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unding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awards between £3,000 - £25,000.</a:t>
                      </a:r>
                    </a:p>
                    <a:p>
                      <a:pPr marL="0" lvl="0" indent="0" algn="just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Match Funding of 20% required.</a:t>
                      </a:r>
                    </a:p>
                    <a:p>
                      <a:pPr marL="0" lvl="0" indent="0" algn="just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Year 1: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(present - end of March 2024) - £50,000 (capital)</a:t>
                      </a:r>
                    </a:p>
                    <a:p>
                      <a:pPr marL="0" lvl="0" indent="0" algn="just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Year 2: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(April 2024 - March 2025)</a:t>
                      </a:r>
                    </a:p>
                    <a:p>
                      <a:pPr marL="457200" lvl="0" indent="-3238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-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£150,000 (capital)</a:t>
                      </a:r>
                    </a:p>
                    <a:p>
                      <a:pPr marL="457200" lvl="0" indent="-3238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-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£41,000 (revenue)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Type of projects to be funded: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b="1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Digital Infrastructure installations </a:t>
                      </a: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Investment in land &amp; property to create         new commercial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loorspace</a:t>
                      </a: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Bringing vacant or underused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loorspace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 into use.</a:t>
                      </a: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arm diversification</a:t>
                      </a: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Developing tourism and hospitality sector physical assets.</a:t>
                      </a: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Investment in renewable energy installations. </a:t>
                      </a:r>
                    </a:p>
                    <a:p>
                      <a:pPr marL="134999" lvl="0" indent="-185249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500"/>
                        <a:buFont typeface="Gill Sans"/>
                        <a:buChar char="●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Premise, plant &amp; equipment investment to support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decarbonisation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.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Currently 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starting grant process for </a:t>
                      </a: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Year 1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Full application process end of this month. First panel meeting in November.  Funding awarded before Christmas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dirty="0" smtClean="0">
                        <a:solidFill>
                          <a:schemeClr val="tx1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Year 2 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- We will be advertising this round in February.  We are likely to go to a full application process for this round. 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 </a:t>
                      </a:r>
                    </a:p>
                    <a:p>
                      <a:endParaRPr lang="en-GB" dirty="0" smtClean="0"/>
                    </a:p>
                    <a:p>
                      <a:r>
                        <a:rPr lang="en-GB" dirty="0" smtClean="0"/>
                        <a:t>Please</a:t>
                      </a:r>
                      <a:r>
                        <a:rPr lang="en-GB" baseline="0" dirty="0" smtClean="0"/>
                        <a:t> contact </a:t>
                      </a:r>
                      <a:r>
                        <a:rPr lang="en-GB" baseline="0" dirty="0" smtClean="0">
                          <a:hlinkClick r:id="rId3"/>
                        </a:rPr>
                        <a:t>Louise.John@fdean.gov.uk</a:t>
                      </a:r>
                      <a:r>
                        <a:rPr lang="en-GB" baseline="0" dirty="0" smtClean="0"/>
                        <a:t> for mor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713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26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44" y="2519651"/>
            <a:ext cx="11157735" cy="194960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30849" y="3063567"/>
            <a:ext cx="94624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FEP Board Governance &amp; finances - Wendy Jackso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97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ernie O’Neill </a:t>
            </a:r>
            <a:r>
              <a:rPr lang="en-US" dirty="0"/>
              <a:t>resigned his position </a:t>
            </a:r>
            <a:r>
              <a:rPr lang="en-US" dirty="0" smtClean="0"/>
              <a:t>as Vice-Chair due </a:t>
            </a:r>
            <a:r>
              <a:rPr lang="en-US" dirty="0"/>
              <a:t>to changes in </a:t>
            </a:r>
            <a:r>
              <a:rPr lang="en-US" dirty="0" smtClean="0"/>
              <a:t>the </a:t>
            </a:r>
            <a:r>
              <a:rPr lang="en-US" dirty="0" err="1" smtClean="0"/>
              <a:t>FoDDC</a:t>
            </a:r>
            <a:r>
              <a:rPr lang="en-US" dirty="0" smtClean="0"/>
              <a:t> Cabinet following the May elections, but retains his position as CIC Board Member. As the new cabinet member of economy, Cllr Johnathan Lane will be appointed </a:t>
            </a:r>
            <a:r>
              <a:rPr lang="en-US" dirty="0"/>
              <a:t>as CIC Board Member and Vice-Chair of the FEP Stakeholder </a:t>
            </a:r>
            <a:r>
              <a:rPr lang="en-US" dirty="0" smtClean="0"/>
              <a:t>Group. </a:t>
            </a:r>
          </a:p>
          <a:p>
            <a:r>
              <a:rPr lang="en-US" dirty="0" smtClean="0"/>
              <a:t>Three new nominees to the CIC Board will observe the next 3 Board meetings, before a Director vote is held </a:t>
            </a:r>
            <a:r>
              <a:rPr lang="en-US" dirty="0" smtClean="0"/>
              <a:t>and a </a:t>
            </a:r>
            <a:r>
              <a:rPr lang="en-US" dirty="0" smtClean="0"/>
              <a:t>formal invite </a:t>
            </a:r>
            <a:r>
              <a:rPr lang="en-US" dirty="0" smtClean="0"/>
              <a:t>to join the Board is sent</a:t>
            </a:r>
            <a:r>
              <a:rPr lang="en-US" dirty="0" smtClean="0"/>
              <a:t> to the nominees.</a:t>
            </a:r>
            <a:endParaRPr lang="en-US" dirty="0"/>
          </a:p>
          <a:p>
            <a:pPr fontAlgn="base"/>
            <a:r>
              <a:rPr lang="en-US" dirty="0"/>
              <a:t>All changes </a:t>
            </a:r>
            <a:r>
              <a:rPr lang="en-US" dirty="0" smtClean="0"/>
              <a:t>will be formally </a:t>
            </a:r>
            <a:r>
              <a:rPr lang="en-US" dirty="0"/>
              <a:t>notified to Companies House</a:t>
            </a:r>
          </a:p>
          <a:p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613269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327769" y="221595"/>
            <a:ext cx="11351736" cy="1173019"/>
            <a:chOff x="327769" y="221595"/>
            <a:chExt cx="11351736" cy="117301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7769" y="221595"/>
              <a:ext cx="11351736" cy="1173019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74254" y="471284"/>
              <a:ext cx="1048327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600" b="1" dirty="0" smtClean="0">
                  <a:solidFill>
                    <a:schemeClr val="bg1"/>
                  </a:solidFill>
                </a:rPr>
                <a:t>FEP Board Governance &amp; finances - Wendy Jackson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54171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032001" y="-639062"/>
            <a:ext cx="9238287" cy="840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36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3600" dirty="0">
              <a:solidFill>
                <a:srgbClr val="66666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6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EP Governance </a:t>
            </a: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</a:t>
            </a:r>
            <a:r>
              <a:rPr kumimoji="0" lang="en-US" altLang="en-US" sz="4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6" name="Picture 2" descr="https://lh5.googleusercontent.com/L8IqsoB_FIPSEtnkpQ2to9LySsCaPJCSVJlKlZJrq3N1hQGI6KQF5CKPSkiht6cWG3G5aaQHH7XnePQr698D7Z9SlddPHU-IRcSIRXkS25gEa6898wnnGdAy3B2jklz19hJr3usuTW9z-3KzSnEGY-UIyt0Z2n8=s204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467" y="950831"/>
            <a:ext cx="6963351" cy="522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4903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fontAlgn="base">
              <a:buNone/>
            </a:pPr>
            <a:r>
              <a:rPr lang="en-US" dirty="0"/>
              <a:t>CIC policies prepared to support good governance</a:t>
            </a:r>
            <a:r>
              <a:rPr lang="en-US" dirty="0" smtClean="0"/>
              <a:t>:</a:t>
            </a:r>
          </a:p>
          <a:p>
            <a:pPr fontAlgn="base"/>
            <a:r>
              <a:rPr lang="en-US" dirty="0" smtClean="0"/>
              <a:t>Health </a:t>
            </a:r>
            <a:r>
              <a:rPr lang="en-US" dirty="0"/>
              <a:t>&amp; safety</a:t>
            </a:r>
          </a:p>
          <a:p>
            <a:pPr fontAlgn="base"/>
            <a:r>
              <a:rPr lang="en-US" dirty="0"/>
              <a:t>Safeguarding</a:t>
            </a:r>
          </a:p>
          <a:p>
            <a:pPr fontAlgn="base"/>
            <a:r>
              <a:rPr lang="en-US" dirty="0"/>
              <a:t>Whistleblowing </a:t>
            </a:r>
          </a:p>
          <a:p>
            <a:pPr fontAlgn="base"/>
            <a:r>
              <a:rPr lang="en-US" dirty="0"/>
              <a:t>Expenses</a:t>
            </a:r>
          </a:p>
          <a:p>
            <a:pPr fontAlgn="base"/>
            <a:r>
              <a:rPr lang="en-US" dirty="0"/>
              <a:t>FEP Privacy Notice (GDPR &amp; website compliance)</a:t>
            </a:r>
          </a:p>
          <a:p>
            <a:pPr marL="0" indent="0" fontAlgn="base">
              <a:buNone/>
            </a:pPr>
            <a:endParaRPr lang="en-US" dirty="0" smtClean="0"/>
          </a:p>
          <a:p>
            <a:pPr fontAlgn="base"/>
            <a:r>
              <a:rPr lang="en-US" dirty="0" smtClean="0"/>
              <a:t>Directors </a:t>
            </a:r>
            <a:r>
              <a:rPr lang="en-US" dirty="0"/>
              <a:t>handbook</a:t>
            </a:r>
          </a:p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20132" y="577994"/>
            <a:ext cx="11351736" cy="1173019"/>
            <a:chOff x="337005" y="221595"/>
            <a:chExt cx="11351736" cy="1173019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7005" y="221595"/>
              <a:ext cx="11351736" cy="1173019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74254" y="471284"/>
              <a:ext cx="1048327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600" b="1" dirty="0" smtClean="0">
                  <a:solidFill>
                    <a:schemeClr val="bg1"/>
                  </a:solidFill>
                </a:rPr>
                <a:t>FEP Board Governance &amp; finances - Wendy Jackson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476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980811"/>
              </p:ext>
            </p:extLst>
          </p:nvPr>
        </p:nvGraphicFramePr>
        <p:xfrm>
          <a:off x="872717" y="1854710"/>
          <a:ext cx="10580373" cy="47002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6791">
                  <a:extLst>
                    <a:ext uri="{9D8B030D-6E8A-4147-A177-3AD203B41FA5}">
                      <a16:colId xmlns:a16="http://schemas.microsoft.com/office/drawing/2014/main" val="2492597850"/>
                    </a:ext>
                  </a:extLst>
                </a:gridCol>
                <a:gridCol w="3526791">
                  <a:extLst>
                    <a:ext uri="{9D8B030D-6E8A-4147-A177-3AD203B41FA5}">
                      <a16:colId xmlns:a16="http://schemas.microsoft.com/office/drawing/2014/main" val="1218530723"/>
                    </a:ext>
                  </a:extLst>
                </a:gridCol>
                <a:gridCol w="3526791">
                  <a:extLst>
                    <a:ext uri="{9D8B030D-6E8A-4147-A177-3AD203B41FA5}">
                      <a16:colId xmlns:a16="http://schemas.microsoft.com/office/drawing/2014/main" val="4289413787"/>
                    </a:ext>
                  </a:extLst>
                </a:gridCol>
              </a:tblGrid>
              <a:tr h="1037567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Income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Expenditure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3464293"/>
                  </a:ext>
                </a:extLst>
              </a:tr>
              <a:tr h="1203706">
                <a:tc>
                  <a:txBody>
                    <a:bodyPr/>
                    <a:lstStyle/>
                    <a:p>
                      <a:r>
                        <a:rPr lang="en-GB" b="1" dirty="0" smtClean="0"/>
                        <a:t>Balance</a:t>
                      </a:r>
                      <a:r>
                        <a:rPr lang="en-GB" b="1" baseline="0" dirty="0" smtClean="0"/>
                        <a:t> Tracker 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 smtClean="0"/>
                        <a:t>£58,611.25</a:t>
                      </a:r>
                      <a:endParaRPr lang="en-GB" b="1" dirty="0" smtClean="0"/>
                    </a:p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b="1" dirty="0" smtClean="0"/>
                        <a:t>£38,773.74</a:t>
                      </a:r>
                      <a:endParaRPr lang="en-GB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992903"/>
                  </a:ext>
                </a:extLst>
              </a:tr>
              <a:tr h="1229464">
                <a:tc>
                  <a:txBody>
                    <a:bodyPr/>
                    <a:lstStyle/>
                    <a:p>
                      <a:r>
                        <a:rPr lang="en-GB" b="1" dirty="0" smtClean="0"/>
                        <a:t>Inspiring the Forest Funding to date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dirty="0" smtClean="0"/>
                        <a:t>£25,750.00</a:t>
                      </a:r>
                    </a:p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b="1" dirty="0" smtClean="0"/>
                        <a:t>£</a:t>
                      </a:r>
                      <a:r>
                        <a:rPr lang="en-GB" b="1" dirty="0" smtClean="0"/>
                        <a:t>22,447.55</a:t>
                      </a:r>
                      <a:endParaRPr lang="en-GB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3423652"/>
                  </a:ext>
                </a:extLst>
              </a:tr>
              <a:tr h="1229464">
                <a:tc>
                  <a:txBody>
                    <a:bodyPr/>
                    <a:lstStyle/>
                    <a:p>
                      <a:r>
                        <a:rPr lang="en-GB" b="1" dirty="0" smtClean="0"/>
                        <a:t>Core Spending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b="1" dirty="0" smtClean="0"/>
                        <a:t>£5,468.</a:t>
                      </a:r>
                      <a:r>
                        <a:rPr lang="en-GB" b="1" baseline="0" dirty="0" smtClean="0"/>
                        <a:t>25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b="1" dirty="0" smtClean="0"/>
                        <a:t>£6,185.12</a:t>
                      </a:r>
                      <a:endParaRPr lang="en-GB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723635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623332" y="517669"/>
            <a:ext cx="11351736" cy="1173019"/>
            <a:chOff x="327769" y="221595"/>
            <a:chExt cx="11351736" cy="1173019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7769" y="221595"/>
              <a:ext cx="11351736" cy="1173019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74254" y="471284"/>
              <a:ext cx="1048327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600" b="1" dirty="0" smtClean="0">
                  <a:solidFill>
                    <a:schemeClr val="bg1"/>
                  </a:solidFill>
                </a:rPr>
                <a:t>FEP Board Governance &amp; finances - Wendy Jackson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1059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76;p53"/>
          <p:cNvSpPr txBox="1">
            <a:spLocks noGrp="1"/>
          </p:cNvSpPr>
          <p:nvPr>
            <p:ph idx="1"/>
          </p:nvPr>
        </p:nvSpPr>
        <p:spPr>
          <a:xfrm>
            <a:off x="838200" y="2004291"/>
            <a:ext cx="10515600" cy="3232727"/>
          </a:xfrm>
          <a:prstGeom prst="rect">
            <a:avLst/>
          </a:prstGeom>
          <a:solidFill>
            <a:srgbClr val="840D3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47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lcome</a:t>
            </a:r>
            <a:endParaRPr sz="4700" b="1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2400" b="0" i="0" u="none" strike="noStrike" cap="none" dirty="0">
              <a:solidFill>
                <a:srgbClr val="99999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564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005" y="221595"/>
            <a:ext cx="11351736" cy="1173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127" y="315954"/>
            <a:ext cx="10515600" cy="984300"/>
          </a:xfrm>
        </p:spPr>
        <p:txBody>
          <a:bodyPr>
            <a:normAutofit/>
          </a:bodyPr>
          <a:lstStyle/>
          <a:p>
            <a:r>
              <a:rPr lang="en-GB" sz="2800" b="1" dirty="0" smtClean="0">
                <a:solidFill>
                  <a:schemeClr val="bg1"/>
                </a:solidFill>
                <a:latin typeface="Calibri Body"/>
              </a:rPr>
              <a:t>Subgroup update – Education and Skills, Clare Vertigen</a:t>
            </a:r>
            <a:r>
              <a:rPr lang="en-GB" sz="2800" b="1" dirty="0">
                <a:solidFill>
                  <a:schemeClr val="bg1"/>
                </a:solidFill>
                <a:latin typeface="Calibri Body"/>
              </a:rPr>
              <a:t/>
            </a:r>
            <a:br>
              <a:rPr lang="en-GB" sz="2800" b="1" dirty="0">
                <a:solidFill>
                  <a:schemeClr val="bg1"/>
                </a:solidFill>
                <a:latin typeface="Calibri Body"/>
              </a:rPr>
            </a:br>
            <a:endParaRPr lang="en-GB" sz="2800" b="1" dirty="0">
              <a:solidFill>
                <a:schemeClr val="bg1"/>
              </a:solidFill>
              <a:latin typeface="Calibri Body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1127" y="838589"/>
            <a:ext cx="11023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bg1"/>
                </a:solidFill>
                <a:latin typeface="Calibri Body"/>
              </a:rPr>
              <a:t>Inspiring the Forest 30</a:t>
            </a:r>
            <a:r>
              <a:rPr lang="en-GB" sz="2400" b="1" baseline="30000" dirty="0">
                <a:solidFill>
                  <a:schemeClr val="bg1"/>
                </a:solidFill>
                <a:latin typeface="Calibri Body"/>
              </a:rPr>
              <a:t>th</a:t>
            </a:r>
            <a:r>
              <a:rPr lang="en-GB" sz="2400" b="1" dirty="0">
                <a:solidFill>
                  <a:schemeClr val="bg1"/>
                </a:solidFill>
                <a:latin typeface="Calibri Body"/>
              </a:rPr>
              <a:t> June 2023 </a:t>
            </a:r>
            <a:endParaRPr lang="en-GB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988" y="1917248"/>
            <a:ext cx="5966691" cy="39267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57" y="1917248"/>
            <a:ext cx="5889016" cy="392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80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16"/>
          <a:stretch/>
        </p:blipFill>
        <p:spPr>
          <a:xfrm>
            <a:off x="90468" y="52193"/>
            <a:ext cx="6116367" cy="32890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725" y="964229"/>
            <a:ext cx="5800437" cy="386773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8" t="-22457" r="-9058" b="26433"/>
          <a:stretch/>
        </p:blipFill>
        <p:spPr>
          <a:xfrm>
            <a:off x="90469" y="2429164"/>
            <a:ext cx="6735209" cy="43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32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76;p53"/>
          <p:cNvSpPr txBox="1">
            <a:spLocks noGrp="1"/>
          </p:cNvSpPr>
          <p:nvPr>
            <p:ph idx="1"/>
          </p:nvPr>
        </p:nvSpPr>
        <p:spPr>
          <a:xfrm>
            <a:off x="791109" y="1810327"/>
            <a:ext cx="10488799" cy="3232727"/>
          </a:xfrm>
          <a:prstGeom prst="rect">
            <a:avLst/>
          </a:prstGeom>
          <a:solidFill>
            <a:srgbClr val="840D3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100"/>
              <a:buNone/>
            </a:pPr>
            <a:r>
              <a:rPr lang="en-GB" sz="32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ubgroup update – Digital Connectivity, </a:t>
            </a:r>
            <a:r>
              <a:rPr lang="en-GB" sz="3200" b="1" dirty="0" smtClean="0">
                <a:solidFill>
                  <a:schemeClr val="bg1"/>
                </a:solidFill>
              </a:rPr>
              <a:t>Angela </a:t>
            </a:r>
            <a:r>
              <a:rPr lang="en-GB" sz="3200" b="1" dirty="0" err="1" smtClean="0">
                <a:solidFill>
                  <a:schemeClr val="bg1"/>
                </a:solidFill>
              </a:rPr>
              <a:t>Presdee</a:t>
            </a:r>
            <a:r>
              <a:rPr lang="en-GB" sz="3200" b="1" dirty="0" smtClean="0">
                <a:solidFill>
                  <a:schemeClr val="bg1"/>
                </a:solidFill>
              </a:rPr>
              <a:t> and Wendy Jackson</a:t>
            </a:r>
            <a:endParaRPr sz="32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2400" b="0" i="0" u="none" strike="noStrike" cap="none" dirty="0">
              <a:solidFill>
                <a:srgbClr val="99999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157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76;p53"/>
          <p:cNvSpPr txBox="1">
            <a:spLocks noGrp="1"/>
          </p:cNvSpPr>
          <p:nvPr>
            <p:ph idx="1"/>
          </p:nvPr>
        </p:nvSpPr>
        <p:spPr>
          <a:xfrm>
            <a:off x="764309" y="1810327"/>
            <a:ext cx="10515600" cy="3232727"/>
          </a:xfrm>
          <a:prstGeom prst="rect">
            <a:avLst/>
          </a:prstGeom>
          <a:solidFill>
            <a:srgbClr val="840D3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100"/>
              <a:buNone/>
            </a:pPr>
            <a:r>
              <a:rPr lang="en-GB" sz="32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Meeting close </a:t>
            </a:r>
            <a:endParaRPr sz="32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2400" b="0" i="0" u="none" strike="noStrike" cap="none" dirty="0">
              <a:solidFill>
                <a:srgbClr val="99999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663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37309" y="286327"/>
            <a:ext cx="10871200" cy="1191491"/>
          </a:xfrm>
          <a:prstGeom prst="rect">
            <a:avLst/>
          </a:prstGeom>
          <a:solidFill>
            <a:srgbClr val="840D3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58690"/>
            <a:ext cx="10515600" cy="1325563"/>
          </a:xfrm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  <a:latin typeface="+mn-lt"/>
              </a:rPr>
              <a:t>Agenda</a:t>
            </a:r>
            <a:r>
              <a:rPr lang="en-GB" b="1" dirty="0" smtClean="0">
                <a:solidFill>
                  <a:schemeClr val="bg1"/>
                </a:solidFill>
              </a:rPr>
              <a:t> 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>
            <a:normAutofit fontScale="85000" lnSpcReduction="10000"/>
          </a:bodyPr>
          <a:lstStyle/>
          <a:p>
            <a:pPr fontAlgn="base"/>
            <a:r>
              <a:rPr lang="en-GB" dirty="0" smtClean="0"/>
              <a:t>Arrival</a:t>
            </a:r>
            <a:r>
              <a:rPr lang="en-GB" dirty="0"/>
              <a:t>, refreshments &amp; networking 17:00 - 17:15</a:t>
            </a:r>
          </a:p>
          <a:p>
            <a:pPr fontAlgn="base"/>
            <a:r>
              <a:rPr lang="en-GB" dirty="0"/>
              <a:t>Welcome, introduction, and news </a:t>
            </a:r>
            <a:r>
              <a:rPr lang="en-GB" dirty="0" smtClean="0"/>
              <a:t>– (Ian Mean)</a:t>
            </a:r>
            <a:endParaRPr lang="en-GB" dirty="0"/>
          </a:p>
          <a:p>
            <a:pPr fontAlgn="base"/>
            <a:r>
              <a:rPr lang="en-GB" dirty="0"/>
              <a:t>New stakeholders - Welcome Nick </a:t>
            </a:r>
            <a:r>
              <a:rPr lang="en-GB" dirty="0" err="1" smtClean="0"/>
              <a:t>Shrager</a:t>
            </a:r>
            <a:r>
              <a:rPr lang="en-GB" dirty="0" smtClean="0"/>
              <a:t> </a:t>
            </a:r>
            <a:r>
              <a:rPr lang="en-GB" dirty="0"/>
              <a:t>and Deborah </a:t>
            </a:r>
            <a:r>
              <a:rPr lang="en-GB" dirty="0" smtClean="0"/>
              <a:t>Flint, Q+A </a:t>
            </a:r>
            <a:r>
              <a:rPr lang="en-GB" dirty="0"/>
              <a:t>(Ian Mean) </a:t>
            </a:r>
          </a:p>
          <a:p>
            <a:pPr fontAlgn="base"/>
            <a:r>
              <a:rPr lang="en-GB" dirty="0"/>
              <a:t>BAM – Five Acres Sub-Contract Opportunities  (Matthew Williams and Jason Lamb)</a:t>
            </a:r>
          </a:p>
          <a:p>
            <a:pPr fontAlgn="base"/>
            <a:r>
              <a:rPr lang="en-GB" dirty="0"/>
              <a:t>New Rural Business Grants - Rural England Prosperity Fund introduction plus Q&amp;A with grant administrators ALP Synergy, (Anthony Parsons and Louise John) </a:t>
            </a:r>
          </a:p>
          <a:p>
            <a:pPr fontAlgn="base"/>
            <a:r>
              <a:rPr lang="en-GB" dirty="0"/>
              <a:t>FEP Board Governance &amp; finances </a:t>
            </a:r>
            <a:r>
              <a:rPr lang="en-GB" dirty="0" smtClean="0"/>
              <a:t>– (Wendy Jackson)</a:t>
            </a:r>
            <a:endParaRPr lang="en-GB" dirty="0"/>
          </a:p>
          <a:p>
            <a:pPr fontAlgn="base"/>
            <a:r>
              <a:rPr lang="en-GB" dirty="0" smtClean="0"/>
              <a:t>Education </a:t>
            </a:r>
            <a:r>
              <a:rPr lang="en-GB" dirty="0"/>
              <a:t>and Skills sub group </a:t>
            </a:r>
            <a:r>
              <a:rPr lang="en-GB" dirty="0" smtClean="0"/>
              <a:t>update - </a:t>
            </a:r>
            <a:r>
              <a:rPr lang="en-GB" dirty="0"/>
              <a:t>(Clare Vertigen)</a:t>
            </a:r>
          </a:p>
          <a:p>
            <a:pPr fontAlgn="base"/>
            <a:r>
              <a:rPr lang="en-GB" dirty="0"/>
              <a:t>Digital Connectivity sub group update </a:t>
            </a:r>
            <a:r>
              <a:rPr lang="en-GB" dirty="0" smtClean="0"/>
              <a:t>- (Angela </a:t>
            </a:r>
            <a:r>
              <a:rPr lang="en-GB" dirty="0" err="1" smtClean="0"/>
              <a:t>Presdee</a:t>
            </a:r>
            <a:r>
              <a:rPr lang="en-GB" dirty="0"/>
              <a:t> </a:t>
            </a:r>
            <a:r>
              <a:rPr lang="en-GB" dirty="0" smtClean="0"/>
              <a:t>and Wendy Jackson</a:t>
            </a:r>
            <a:r>
              <a:rPr lang="en-GB" dirty="0" smtClean="0"/>
              <a:t>)</a:t>
            </a:r>
          </a:p>
          <a:p>
            <a:pPr fontAlgn="base"/>
            <a:r>
              <a:rPr lang="en-GB" dirty="0" smtClean="0"/>
              <a:t> Meeting </a:t>
            </a:r>
            <a:r>
              <a:rPr lang="en-GB" dirty="0" smtClean="0"/>
              <a:t>close at 18:30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9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5757" y="2142836"/>
            <a:ext cx="11681718" cy="2096654"/>
          </a:xfrm>
          <a:prstGeom prst="rect">
            <a:avLst/>
          </a:prstGeom>
          <a:solidFill>
            <a:srgbClr val="840D3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1653" y="2506894"/>
            <a:ext cx="10827327" cy="1477093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solidFill>
                  <a:schemeClr val="bg1"/>
                </a:solidFill>
                <a:latin typeface="Calibri Body"/>
              </a:rPr>
              <a:t>Welcome to all and FEP news. Introduction to Nick </a:t>
            </a:r>
            <a:r>
              <a:rPr lang="en-GB" sz="3200" b="1" dirty="0" err="1" smtClean="0">
                <a:solidFill>
                  <a:schemeClr val="bg1"/>
                </a:solidFill>
                <a:latin typeface="Calibri Body"/>
              </a:rPr>
              <a:t>Shrager</a:t>
            </a:r>
            <a:r>
              <a:rPr lang="en-GB" sz="3200" b="1" dirty="0" smtClean="0">
                <a:solidFill>
                  <a:schemeClr val="bg1"/>
                </a:solidFill>
                <a:latin typeface="Calibri Body"/>
              </a:rPr>
              <a:t> and Deborah Flint, Q+A – Ian Mean</a:t>
            </a:r>
            <a:r>
              <a:rPr lang="en-GB" sz="3200" b="1" dirty="0" smtClean="0">
                <a:solidFill>
                  <a:schemeClr val="bg1"/>
                </a:solidFill>
                <a:latin typeface="Calibri Body"/>
              </a:rPr>
              <a:t/>
            </a:r>
            <a:br>
              <a:rPr lang="en-GB" sz="3200" b="1" dirty="0" smtClean="0">
                <a:solidFill>
                  <a:schemeClr val="bg1"/>
                </a:solidFill>
                <a:latin typeface="Calibri Body"/>
              </a:rPr>
            </a:br>
            <a:endParaRPr lang="en-GB" sz="3200" b="1" dirty="0">
              <a:solidFill>
                <a:schemeClr val="bg1"/>
              </a:solidFill>
              <a:latin typeface="Calibri Body"/>
            </a:endParaRPr>
          </a:p>
        </p:txBody>
      </p:sp>
    </p:spTree>
    <p:extLst>
      <p:ext uri="{BB962C8B-B14F-4D97-AF65-F5344CB8AC3E}">
        <p14:creationId xmlns:p14="http://schemas.microsoft.com/office/powerpoint/2010/main" val="11675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97950" y="2142836"/>
            <a:ext cx="11383767" cy="2096654"/>
          </a:xfrm>
          <a:prstGeom prst="rect">
            <a:avLst/>
          </a:prstGeom>
          <a:solidFill>
            <a:srgbClr val="840D3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801384" y="2496620"/>
            <a:ext cx="107878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</a:rPr>
              <a:t>BAM – Five Acres Sub-Contract Opportunities  (Matthew Williams and Jason Lamb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553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87A9FDEB-5A07-46CC-A08F-A15CDCD83F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Five Acres Redevelopment – FEP Presentation </a:t>
            </a:r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7F9B8D-C8AD-7259-634D-61F540CA9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2526" y="3267074"/>
            <a:ext cx="2295525" cy="21050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24368E-BAFC-8028-41A6-78252BA158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2526" y="5665064"/>
            <a:ext cx="2295525" cy="80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73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5ECBC80-56D7-4337-A41E-553BBF1E6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CB2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r>
              <a:rPr lang="en-US" dirty="0"/>
              <a:t> 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EFF1E97-3205-41D9-8E96-58AC43C9D7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o are BAM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here are BAM based?</a:t>
            </a:r>
          </a:p>
          <a:p>
            <a:endParaRPr lang="en-US" dirty="0"/>
          </a:p>
          <a:p>
            <a:r>
              <a:rPr lang="en-US" dirty="0"/>
              <a:t>What services to BAM provide?</a:t>
            </a:r>
          </a:p>
          <a:p>
            <a:endParaRPr lang="en-US" dirty="0">
              <a:solidFill>
                <a:srgbClr val="0CB22B"/>
              </a:solidFill>
            </a:endParaRPr>
          </a:p>
          <a:p>
            <a:r>
              <a:rPr lang="en-US" dirty="0"/>
              <a:t>BAM key Values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5BB464-85DA-B01B-C3AE-AAE7930A2C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3304" y="3831320"/>
            <a:ext cx="10143621" cy="163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818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47F07F0-14B9-41C4-B4F3-5DFEB9819C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47F07F0-14B9-41C4-B4F3-5DFEB9819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ijdelijke aanduiding voor afbeelding 6" descr="Afbeelding met tekst, persoon&#10;&#10;Automatisch gegenereerde beschrijving">
            <a:extLst>
              <a:ext uri="{FF2B5EF4-FFF2-40B4-BE49-F238E27FC236}">
                <a16:creationId xmlns:a16="http://schemas.microsoft.com/office/drawing/2014/main" id="{A9FA5BC8-C1CF-4AD9-A197-A498B32E4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4D22D00D-8943-D366-0347-B5BC5B15A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0675" y="2890837"/>
            <a:ext cx="9010650" cy="1076325"/>
          </a:xfrm>
        </p:spPr>
        <p:txBody>
          <a:bodyPr/>
          <a:lstStyle/>
          <a:p>
            <a:r>
              <a:rPr lang="en-GB" sz="4400" dirty="0"/>
              <a:t>Five Acres Redevelopment </a:t>
            </a:r>
            <a:r>
              <a:rPr lang="en-GB" sz="2400" dirty="0"/>
              <a:t> </a:t>
            </a:r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1AFA8125-B19A-47B1-9E13-0762519F0FFF}"/>
              </a:ext>
            </a:extLst>
          </p:cNvPr>
          <p:cNvSpPr/>
          <p:nvPr/>
        </p:nvSpPr>
        <p:spPr>
          <a:xfrm>
            <a:off x="7377811" y="0"/>
            <a:ext cx="4814189" cy="6867524"/>
          </a:xfrm>
          <a:custGeom>
            <a:avLst/>
            <a:gdLst>
              <a:gd name="connsiteX0" fmla="*/ 3855339 w 4814189"/>
              <a:gd name="connsiteY0" fmla="*/ 657226 h 6867524"/>
              <a:gd name="connsiteX1" fmla="*/ 3855339 w 4814189"/>
              <a:gd name="connsiteY1" fmla="*/ 700315 h 6867524"/>
              <a:gd name="connsiteX2" fmla="*/ 3837559 w 4814189"/>
              <a:gd name="connsiteY2" fmla="*/ 704851 h 6867524"/>
              <a:gd name="connsiteX3" fmla="*/ 3810889 w 4814189"/>
              <a:gd name="connsiteY3" fmla="*/ 682173 h 6867524"/>
              <a:gd name="connsiteX4" fmla="*/ 3855339 w 4814189"/>
              <a:gd name="connsiteY4" fmla="*/ 657226 h 6867524"/>
              <a:gd name="connsiteX5" fmla="*/ 3656394 w 4814189"/>
              <a:gd name="connsiteY5" fmla="*/ 606608 h 6867524"/>
              <a:gd name="connsiteX6" fmla="*/ 3688652 w 4814189"/>
              <a:gd name="connsiteY6" fmla="*/ 655963 h 6867524"/>
              <a:gd name="connsiteX7" fmla="*/ 3645922 w 4814189"/>
              <a:gd name="connsiteY7" fmla="*/ 705143 h 6867524"/>
              <a:gd name="connsiteX8" fmla="*/ 3634677 w 4814189"/>
              <a:gd name="connsiteY8" fmla="*/ 702908 h 6867524"/>
              <a:gd name="connsiteX9" fmla="*/ 3634677 w 4814189"/>
              <a:gd name="connsiteY9" fmla="*/ 609018 h 6867524"/>
              <a:gd name="connsiteX10" fmla="*/ 3650420 w 4814189"/>
              <a:gd name="connsiteY10" fmla="*/ 606783 h 6867524"/>
              <a:gd name="connsiteX11" fmla="*/ 3656394 w 4814189"/>
              <a:gd name="connsiteY11" fmla="*/ 606608 h 6867524"/>
              <a:gd name="connsiteX12" fmla="*/ 3848394 w 4814189"/>
              <a:gd name="connsiteY12" fmla="*/ 574675 h 6867524"/>
              <a:gd name="connsiteX13" fmla="*/ 3780727 w 4814189"/>
              <a:gd name="connsiteY13" fmla="*/ 585723 h 6867524"/>
              <a:gd name="connsiteX14" fmla="*/ 3780727 w 4814189"/>
              <a:gd name="connsiteY14" fmla="*/ 610029 h 6867524"/>
              <a:gd name="connsiteX15" fmla="*/ 3826566 w 4814189"/>
              <a:gd name="connsiteY15" fmla="*/ 605610 h 6867524"/>
              <a:gd name="connsiteX16" fmla="*/ 3857125 w 4814189"/>
              <a:gd name="connsiteY16" fmla="*/ 621077 h 6867524"/>
              <a:gd name="connsiteX17" fmla="*/ 3857125 w 4814189"/>
              <a:gd name="connsiteY17" fmla="*/ 638755 h 6867524"/>
              <a:gd name="connsiteX18" fmla="*/ 3767630 w 4814189"/>
              <a:gd name="connsiteY18" fmla="*/ 689576 h 6867524"/>
              <a:gd name="connsiteX19" fmla="*/ 3815651 w 4814189"/>
              <a:gd name="connsiteY19" fmla="*/ 738188 h 6867524"/>
              <a:gd name="connsiteX20" fmla="*/ 3859308 w 4814189"/>
              <a:gd name="connsiteY20" fmla="*/ 724930 h 6867524"/>
              <a:gd name="connsiteX21" fmla="*/ 3859308 w 4814189"/>
              <a:gd name="connsiteY21" fmla="*/ 735978 h 6867524"/>
              <a:gd name="connsiteX22" fmla="*/ 3902964 w 4814189"/>
              <a:gd name="connsiteY22" fmla="*/ 735978 h 6867524"/>
              <a:gd name="connsiteX23" fmla="*/ 3902964 w 4814189"/>
              <a:gd name="connsiteY23" fmla="*/ 629916 h 6867524"/>
              <a:gd name="connsiteX24" fmla="*/ 3848394 w 4814189"/>
              <a:gd name="connsiteY24" fmla="*/ 574675 h 6867524"/>
              <a:gd name="connsiteX25" fmla="*/ 4041062 w 4814189"/>
              <a:gd name="connsiteY25" fmla="*/ 573088 h 6867524"/>
              <a:gd name="connsiteX26" fmla="*/ 3991063 w 4814189"/>
              <a:gd name="connsiteY26" fmla="*/ 586185 h 6867524"/>
              <a:gd name="connsiteX27" fmla="*/ 3991063 w 4814189"/>
              <a:gd name="connsiteY27" fmla="*/ 575271 h 6867524"/>
              <a:gd name="connsiteX28" fmla="*/ 3941064 w 4814189"/>
              <a:gd name="connsiteY28" fmla="*/ 575271 h 6867524"/>
              <a:gd name="connsiteX29" fmla="*/ 3941064 w 4814189"/>
              <a:gd name="connsiteY29" fmla="*/ 730250 h 6867524"/>
              <a:gd name="connsiteX30" fmla="*/ 3991063 w 4814189"/>
              <a:gd name="connsiteY30" fmla="*/ 730250 h 6867524"/>
              <a:gd name="connsiteX31" fmla="*/ 3991063 w 4814189"/>
              <a:gd name="connsiteY31" fmla="*/ 610196 h 6867524"/>
              <a:gd name="connsiteX32" fmla="*/ 4012802 w 4814189"/>
              <a:gd name="connsiteY32" fmla="*/ 608013 h 6867524"/>
              <a:gd name="connsiteX33" fmla="*/ 4036714 w 4814189"/>
              <a:gd name="connsiteY33" fmla="*/ 623293 h 6867524"/>
              <a:gd name="connsiteX34" fmla="*/ 4036714 w 4814189"/>
              <a:gd name="connsiteY34" fmla="*/ 730250 h 6867524"/>
              <a:gd name="connsiteX35" fmla="*/ 4086714 w 4814189"/>
              <a:gd name="connsiteY35" fmla="*/ 730250 h 6867524"/>
              <a:gd name="connsiteX36" fmla="*/ 4086714 w 4814189"/>
              <a:gd name="connsiteY36" fmla="*/ 621110 h 6867524"/>
              <a:gd name="connsiteX37" fmla="*/ 4084540 w 4814189"/>
              <a:gd name="connsiteY37" fmla="*/ 610196 h 6867524"/>
              <a:gd name="connsiteX38" fmla="*/ 4108452 w 4814189"/>
              <a:gd name="connsiteY38" fmla="*/ 608013 h 6867524"/>
              <a:gd name="connsiteX39" fmla="*/ 4132365 w 4814189"/>
              <a:gd name="connsiteY39" fmla="*/ 623293 h 6867524"/>
              <a:gd name="connsiteX40" fmla="*/ 4132365 w 4814189"/>
              <a:gd name="connsiteY40" fmla="*/ 730250 h 6867524"/>
              <a:gd name="connsiteX41" fmla="*/ 4182364 w 4814189"/>
              <a:gd name="connsiteY41" fmla="*/ 730250 h 6867524"/>
              <a:gd name="connsiteX42" fmla="*/ 4182364 w 4814189"/>
              <a:gd name="connsiteY42" fmla="*/ 621110 h 6867524"/>
              <a:gd name="connsiteX43" fmla="*/ 4136713 w 4814189"/>
              <a:gd name="connsiteY43" fmla="*/ 573088 h 6867524"/>
              <a:gd name="connsiteX44" fmla="*/ 4073670 w 4814189"/>
              <a:gd name="connsiteY44" fmla="*/ 586185 h 6867524"/>
              <a:gd name="connsiteX45" fmla="*/ 4041062 w 4814189"/>
              <a:gd name="connsiteY45" fmla="*/ 573088 h 6867524"/>
              <a:gd name="connsiteX46" fmla="*/ 3588639 w 4814189"/>
              <a:gd name="connsiteY46" fmla="*/ 500063 h 6867524"/>
              <a:gd name="connsiteX47" fmla="*/ 3588639 w 4814189"/>
              <a:gd name="connsiteY47" fmla="*/ 727164 h 6867524"/>
              <a:gd name="connsiteX48" fmla="*/ 3652434 w 4814189"/>
              <a:gd name="connsiteY48" fmla="*/ 738188 h 6867524"/>
              <a:gd name="connsiteX49" fmla="*/ 3742627 w 4814189"/>
              <a:gd name="connsiteY49" fmla="*/ 649994 h 6867524"/>
              <a:gd name="connsiteX50" fmla="*/ 3681032 w 4814189"/>
              <a:gd name="connsiteY50" fmla="*/ 575028 h 6867524"/>
              <a:gd name="connsiteX51" fmla="*/ 3639235 w 4814189"/>
              <a:gd name="connsiteY51" fmla="*/ 588258 h 6867524"/>
              <a:gd name="connsiteX52" fmla="*/ 3639235 w 4814189"/>
              <a:gd name="connsiteY52" fmla="*/ 500063 h 6867524"/>
              <a:gd name="connsiteX53" fmla="*/ 3588639 w 4814189"/>
              <a:gd name="connsiteY53" fmla="*/ 500063 h 6867524"/>
              <a:gd name="connsiteX54" fmla="*/ 3927179 w 4814189"/>
              <a:gd name="connsiteY54" fmla="*/ 0 h 6867524"/>
              <a:gd name="connsiteX55" fmla="*/ 4356989 w 4814189"/>
              <a:gd name="connsiteY55" fmla="*/ 1 h 6867524"/>
              <a:gd name="connsiteX56" fmla="*/ 4356989 w 4814189"/>
              <a:gd name="connsiteY56" fmla="*/ 0 h 6867524"/>
              <a:gd name="connsiteX57" fmla="*/ 4814189 w 4814189"/>
              <a:gd name="connsiteY57" fmla="*/ 0 h 6867524"/>
              <a:gd name="connsiteX58" fmla="*/ 4814189 w 4814189"/>
              <a:gd name="connsiteY58" fmla="*/ 6858000 h 6867524"/>
              <a:gd name="connsiteX59" fmla="*/ 4393184 w 4814189"/>
              <a:gd name="connsiteY59" fmla="*/ 6858000 h 6867524"/>
              <a:gd name="connsiteX60" fmla="*/ 4393184 w 4814189"/>
              <a:gd name="connsiteY60" fmla="*/ 6867524 h 6867524"/>
              <a:gd name="connsiteX61" fmla="*/ 1462191 w 4814189"/>
              <a:gd name="connsiteY61" fmla="*/ 6867524 h 6867524"/>
              <a:gd name="connsiteX62" fmla="*/ 0 w 4814189"/>
              <a:gd name="connsiteY62" fmla="*/ 5745131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814189" h="6867524">
                <a:moveTo>
                  <a:pt x="3855339" y="657226"/>
                </a:moveTo>
                <a:cubicBezTo>
                  <a:pt x="3855339" y="700315"/>
                  <a:pt x="3855339" y="700315"/>
                  <a:pt x="3855339" y="700315"/>
                </a:cubicBezTo>
                <a:cubicBezTo>
                  <a:pt x="3853117" y="702583"/>
                  <a:pt x="3846449" y="704851"/>
                  <a:pt x="3837559" y="704851"/>
                </a:cubicBezTo>
                <a:cubicBezTo>
                  <a:pt x="3822001" y="704851"/>
                  <a:pt x="3810889" y="698048"/>
                  <a:pt x="3810889" y="682173"/>
                </a:cubicBezTo>
                <a:cubicBezTo>
                  <a:pt x="3810889" y="668565"/>
                  <a:pt x="3817557" y="659494"/>
                  <a:pt x="3855339" y="657226"/>
                </a:cubicBezTo>
                <a:close/>
                <a:moveTo>
                  <a:pt x="3656394" y="606608"/>
                </a:moveTo>
                <a:cubicBezTo>
                  <a:pt x="3667146" y="607341"/>
                  <a:pt x="3688652" y="614048"/>
                  <a:pt x="3688652" y="655963"/>
                </a:cubicBezTo>
                <a:cubicBezTo>
                  <a:pt x="3688652" y="709614"/>
                  <a:pt x="3645922" y="705143"/>
                  <a:pt x="3645922" y="705143"/>
                </a:cubicBezTo>
                <a:cubicBezTo>
                  <a:pt x="3643673" y="705143"/>
                  <a:pt x="3636926" y="705143"/>
                  <a:pt x="3634677" y="702908"/>
                </a:cubicBezTo>
                <a:cubicBezTo>
                  <a:pt x="3634677" y="609018"/>
                  <a:pt x="3634677" y="609018"/>
                  <a:pt x="3634677" y="609018"/>
                </a:cubicBezTo>
                <a:cubicBezTo>
                  <a:pt x="3641424" y="606783"/>
                  <a:pt x="3650420" y="606783"/>
                  <a:pt x="3650420" y="606783"/>
                </a:cubicBezTo>
                <a:cubicBezTo>
                  <a:pt x="3650420" y="606783"/>
                  <a:pt x="3652809" y="606363"/>
                  <a:pt x="3656394" y="606608"/>
                </a:cubicBezTo>
                <a:close/>
                <a:moveTo>
                  <a:pt x="3848394" y="574675"/>
                </a:moveTo>
                <a:cubicBezTo>
                  <a:pt x="3820017" y="574675"/>
                  <a:pt x="3780727" y="585723"/>
                  <a:pt x="3780727" y="585723"/>
                </a:cubicBezTo>
                <a:cubicBezTo>
                  <a:pt x="3780727" y="610029"/>
                  <a:pt x="3780727" y="610029"/>
                  <a:pt x="3780727" y="610029"/>
                </a:cubicBezTo>
                <a:cubicBezTo>
                  <a:pt x="3780727" y="610029"/>
                  <a:pt x="3798189" y="607820"/>
                  <a:pt x="3826566" y="605610"/>
                </a:cubicBezTo>
                <a:cubicBezTo>
                  <a:pt x="3857125" y="603400"/>
                  <a:pt x="3857125" y="621077"/>
                  <a:pt x="3857125" y="621077"/>
                </a:cubicBezTo>
                <a:cubicBezTo>
                  <a:pt x="3857125" y="638755"/>
                  <a:pt x="3857125" y="638755"/>
                  <a:pt x="3857125" y="638755"/>
                </a:cubicBezTo>
                <a:cubicBezTo>
                  <a:pt x="3846211" y="636545"/>
                  <a:pt x="3763264" y="632126"/>
                  <a:pt x="3767630" y="689576"/>
                </a:cubicBezTo>
                <a:cubicBezTo>
                  <a:pt x="3767630" y="689576"/>
                  <a:pt x="3765447" y="738188"/>
                  <a:pt x="3815651" y="738188"/>
                </a:cubicBezTo>
                <a:cubicBezTo>
                  <a:pt x="3815651" y="738188"/>
                  <a:pt x="3837480" y="738188"/>
                  <a:pt x="3859308" y="724930"/>
                </a:cubicBezTo>
                <a:cubicBezTo>
                  <a:pt x="3859308" y="735978"/>
                  <a:pt x="3859308" y="735978"/>
                  <a:pt x="3859308" y="735978"/>
                </a:cubicBezTo>
                <a:cubicBezTo>
                  <a:pt x="3902964" y="735978"/>
                  <a:pt x="3902964" y="735978"/>
                  <a:pt x="3902964" y="735978"/>
                </a:cubicBezTo>
                <a:cubicBezTo>
                  <a:pt x="3902964" y="735978"/>
                  <a:pt x="3902964" y="676318"/>
                  <a:pt x="3902964" y="629916"/>
                </a:cubicBezTo>
                <a:cubicBezTo>
                  <a:pt x="3902964" y="583514"/>
                  <a:pt x="3874587" y="574675"/>
                  <a:pt x="3848394" y="574675"/>
                </a:cubicBezTo>
                <a:close/>
                <a:moveTo>
                  <a:pt x="4041062" y="573088"/>
                </a:moveTo>
                <a:cubicBezTo>
                  <a:pt x="4023671" y="573088"/>
                  <a:pt x="3999759" y="581819"/>
                  <a:pt x="3991063" y="586185"/>
                </a:cubicBezTo>
                <a:cubicBezTo>
                  <a:pt x="3991063" y="575271"/>
                  <a:pt x="3991063" y="575271"/>
                  <a:pt x="3991063" y="575271"/>
                </a:cubicBezTo>
                <a:cubicBezTo>
                  <a:pt x="3941064" y="575271"/>
                  <a:pt x="3941064" y="575271"/>
                  <a:pt x="3941064" y="575271"/>
                </a:cubicBezTo>
                <a:cubicBezTo>
                  <a:pt x="3941064" y="730250"/>
                  <a:pt x="3941064" y="730250"/>
                  <a:pt x="3941064" y="730250"/>
                </a:cubicBezTo>
                <a:cubicBezTo>
                  <a:pt x="3991063" y="730250"/>
                  <a:pt x="3991063" y="730250"/>
                  <a:pt x="3991063" y="730250"/>
                </a:cubicBezTo>
                <a:cubicBezTo>
                  <a:pt x="3991063" y="610196"/>
                  <a:pt x="3991063" y="610196"/>
                  <a:pt x="3991063" y="610196"/>
                </a:cubicBezTo>
                <a:cubicBezTo>
                  <a:pt x="3997585" y="608013"/>
                  <a:pt x="4012802" y="608013"/>
                  <a:pt x="4012802" y="608013"/>
                </a:cubicBezTo>
                <a:cubicBezTo>
                  <a:pt x="4038888" y="608013"/>
                  <a:pt x="4036714" y="623293"/>
                  <a:pt x="4036714" y="623293"/>
                </a:cubicBezTo>
                <a:cubicBezTo>
                  <a:pt x="4036714" y="730250"/>
                  <a:pt x="4036714" y="730250"/>
                  <a:pt x="4036714" y="730250"/>
                </a:cubicBezTo>
                <a:cubicBezTo>
                  <a:pt x="4086714" y="730250"/>
                  <a:pt x="4086714" y="730250"/>
                  <a:pt x="4086714" y="730250"/>
                </a:cubicBezTo>
                <a:cubicBezTo>
                  <a:pt x="4086714" y="730250"/>
                  <a:pt x="4086714" y="653852"/>
                  <a:pt x="4086714" y="621110"/>
                </a:cubicBezTo>
                <a:cubicBezTo>
                  <a:pt x="4086714" y="616744"/>
                  <a:pt x="4086714" y="612379"/>
                  <a:pt x="4084540" y="610196"/>
                </a:cubicBezTo>
                <a:cubicBezTo>
                  <a:pt x="4095409" y="608013"/>
                  <a:pt x="4108452" y="608013"/>
                  <a:pt x="4108452" y="608013"/>
                </a:cubicBezTo>
                <a:cubicBezTo>
                  <a:pt x="4134539" y="608013"/>
                  <a:pt x="4132365" y="623293"/>
                  <a:pt x="4132365" y="623293"/>
                </a:cubicBezTo>
                <a:cubicBezTo>
                  <a:pt x="4132365" y="730250"/>
                  <a:pt x="4132365" y="730250"/>
                  <a:pt x="4132365" y="730250"/>
                </a:cubicBezTo>
                <a:cubicBezTo>
                  <a:pt x="4182364" y="730250"/>
                  <a:pt x="4182364" y="730250"/>
                  <a:pt x="4182364" y="730250"/>
                </a:cubicBezTo>
                <a:cubicBezTo>
                  <a:pt x="4182364" y="730250"/>
                  <a:pt x="4182364" y="653852"/>
                  <a:pt x="4182364" y="621110"/>
                </a:cubicBezTo>
                <a:cubicBezTo>
                  <a:pt x="4182364" y="586185"/>
                  <a:pt x="4158451" y="573088"/>
                  <a:pt x="4136713" y="573088"/>
                </a:cubicBezTo>
                <a:cubicBezTo>
                  <a:pt x="4108452" y="573088"/>
                  <a:pt x="4080192" y="584002"/>
                  <a:pt x="4073670" y="586185"/>
                </a:cubicBezTo>
                <a:cubicBezTo>
                  <a:pt x="4064975" y="577454"/>
                  <a:pt x="4051932" y="573088"/>
                  <a:pt x="4041062" y="573088"/>
                </a:cubicBezTo>
                <a:close/>
                <a:moveTo>
                  <a:pt x="3588639" y="500063"/>
                </a:moveTo>
                <a:cubicBezTo>
                  <a:pt x="3588639" y="727164"/>
                  <a:pt x="3588639" y="727164"/>
                  <a:pt x="3588639" y="727164"/>
                </a:cubicBezTo>
                <a:cubicBezTo>
                  <a:pt x="3588639" y="727164"/>
                  <a:pt x="3623836" y="738188"/>
                  <a:pt x="3652434" y="738188"/>
                </a:cubicBezTo>
                <a:cubicBezTo>
                  <a:pt x="3681032" y="738188"/>
                  <a:pt x="3742627" y="724959"/>
                  <a:pt x="3742627" y="649994"/>
                </a:cubicBezTo>
                <a:cubicBezTo>
                  <a:pt x="3742627" y="575028"/>
                  <a:pt x="3683232" y="575028"/>
                  <a:pt x="3681032" y="575028"/>
                </a:cubicBezTo>
                <a:cubicBezTo>
                  <a:pt x="3678832" y="575028"/>
                  <a:pt x="3663433" y="575028"/>
                  <a:pt x="3639235" y="588258"/>
                </a:cubicBezTo>
                <a:cubicBezTo>
                  <a:pt x="3639235" y="500063"/>
                  <a:pt x="3639235" y="500063"/>
                  <a:pt x="3639235" y="500063"/>
                </a:cubicBezTo>
                <a:cubicBezTo>
                  <a:pt x="3588639" y="500063"/>
                  <a:pt x="3588639" y="500063"/>
                  <a:pt x="3588639" y="500063"/>
                </a:cubicBezTo>
                <a:close/>
                <a:moveTo>
                  <a:pt x="3927179" y="0"/>
                </a:moveTo>
                <a:lnTo>
                  <a:pt x="4356989" y="1"/>
                </a:lnTo>
                <a:lnTo>
                  <a:pt x="4356989" y="0"/>
                </a:lnTo>
                <a:lnTo>
                  <a:pt x="4814189" y="0"/>
                </a:lnTo>
                <a:lnTo>
                  <a:pt x="4814189" y="6858000"/>
                </a:lnTo>
                <a:lnTo>
                  <a:pt x="4393184" y="6858000"/>
                </a:lnTo>
                <a:lnTo>
                  <a:pt x="4393184" y="6867524"/>
                </a:lnTo>
                <a:lnTo>
                  <a:pt x="1462191" y="6867524"/>
                </a:lnTo>
                <a:lnTo>
                  <a:pt x="0" y="574513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nl-NL" dirty="0">
              <a:solidFill>
                <a:srgbClr val="248D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132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AA83CC-7FAE-49DB-8597-DACADCC7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AA83CC-7FAE-49DB-8597-DACADCC7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6CF2F731-405D-44CC-8AE8-529A16D61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CB2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Acres Redevelopment Proposals </a:t>
            </a:r>
            <a:endParaRPr lang="en-GB" dirty="0">
              <a:solidFill>
                <a:srgbClr val="0CB22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BC967A-280E-842C-B96F-7AD46A7191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738" y="1292988"/>
            <a:ext cx="4805408" cy="27472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812E97F-4A98-0248-427C-C6BFF65257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38" y="4512842"/>
            <a:ext cx="4805408" cy="19531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310428-0F2D-78E7-B521-345293200C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45878" y="1154097"/>
            <a:ext cx="5409975" cy="5455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4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E2EFD9"/>
      </a:dk2>
      <a:lt2>
        <a:srgbClr val="E7E6E6"/>
      </a:lt2>
      <a:accent1>
        <a:srgbClr val="00B050"/>
      </a:accent1>
      <a:accent2>
        <a:srgbClr val="ED7D31"/>
      </a:accent2>
      <a:accent3>
        <a:srgbClr val="345021"/>
      </a:accent3>
      <a:accent4>
        <a:srgbClr val="00B050"/>
      </a:accent4>
      <a:accent5>
        <a:srgbClr val="7F7F7F"/>
      </a:accent5>
      <a:accent6>
        <a:srgbClr val="595959"/>
      </a:accent6>
      <a:hlink>
        <a:srgbClr val="7F7F7F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3</TotalTime>
  <Words>650</Words>
  <Application>Microsoft Office PowerPoint</Application>
  <PresentationFormat>Widescreen</PresentationFormat>
  <Paragraphs>133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Body</vt:lpstr>
      <vt:lpstr>Calibri Light</vt:lpstr>
      <vt:lpstr>Gill Sans</vt:lpstr>
      <vt:lpstr>Office Theme</vt:lpstr>
      <vt:lpstr>think-cell Slide</vt:lpstr>
      <vt:lpstr>PowerPoint Presentation</vt:lpstr>
      <vt:lpstr>PowerPoint Presentation</vt:lpstr>
      <vt:lpstr>Agenda </vt:lpstr>
      <vt:lpstr>Welcome to all and FEP news. Introduction to Nick Shrager and Deborah Flint, Q+A – Ian Mean </vt:lpstr>
      <vt:lpstr>PowerPoint Presentation</vt:lpstr>
      <vt:lpstr>PowerPoint Presentation</vt:lpstr>
      <vt:lpstr>Introduction </vt:lpstr>
      <vt:lpstr>PowerPoint Presentation</vt:lpstr>
      <vt:lpstr>Five Acres Redevelopment Proposals 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bgroup update – Education and Skills, Clare Vertigen </vt:lpstr>
      <vt:lpstr>PowerPoint Presentation</vt:lpstr>
      <vt:lpstr>PowerPoint Presentation</vt:lpstr>
      <vt:lpstr>PowerPoint Presentation</vt:lpstr>
    </vt:vector>
  </TitlesOfParts>
  <Company>220ICT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dia Smith</dc:creator>
  <cp:lastModifiedBy>Lydia Smith</cp:lastModifiedBy>
  <cp:revision>39</cp:revision>
  <dcterms:created xsi:type="dcterms:W3CDTF">2023-09-08T12:43:16Z</dcterms:created>
  <dcterms:modified xsi:type="dcterms:W3CDTF">2023-09-13T18:14:15Z</dcterms:modified>
</cp:coreProperties>
</file>